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slideLayouts/slideLayout19.xml" ContentType="application/vnd.openxmlformats-officedocument.presentationml.slideLayout+xml"/>
  <Override PartName="/ppt/notesSlides/notesSlide2.xml" ContentType="application/vnd.openxmlformats-officedocument.presentationml.notesSlide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3.xml" ContentType="application/vnd.openxmlformats-officedocument.theme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Default Extension="rels" ContentType="application/vnd.openxmlformats-package.relationships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s/slide10.xml" ContentType="application/vnd.openxmlformats-officedocument.presentationml.slide+xml"/>
  <Override PartName="/ppt/slides/slide12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20.xml" ContentType="application/vnd.openxmlformats-officedocument.presentationml.slideLayout+xml"/>
  <Override PartName="/docProps/custom.xml" ContentType="application/vnd.openxmlformats-officedocument.custom-properties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6.xml" ContentType="application/vnd.openxmlformats-officedocument.presentationml.notesSlide+xml"/>
  <Default Extension="xlsx" ContentType="application/vnd.openxmlformats-officedocument.spreadsheetml.sheet"/>
  <Override PartName="/ppt/notesSlides/notesSlide7.xml" ContentType="application/vnd.openxmlformats-officedocument.presentationml.notes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handoutMasters/handoutMaster1.xml" ContentType="application/vnd.openxmlformats-officedocument.presentationml.handoutMaster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charts/chart1.xml" ContentType="application/vnd.openxmlformats-officedocument.drawingml.chart+xml"/>
  <Override PartName="/docProps/core.xml" ContentType="application/vnd.openxmlformats-package.core-properties+xml"/>
  <Override PartName="/ppt/slideMasters/slideMaster2.xml" ContentType="application/vnd.openxmlformats-officedocument.presentationml.slideMaster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3.xml" ContentType="application/vnd.openxmlformats-officedocument.presentationml.notesSlide+xml"/>
  <Default Extension="bin" ContentType="application/vnd.openxmlformats-officedocument.oleObject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drawings/drawing1.xml" ContentType="application/vnd.openxmlformats-officedocument.drawingml.chartshapes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Override PartName="/ppt/slideLayouts/slideLayout16.xml" ContentType="application/vnd.openxmlformats-officedocument.presentationml.slideLayout+xml"/>
  <Default Extension="jpeg" ContentType="image/jpeg"/>
  <Default Extension="emf" ContentType="image/x-emf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Layouts/slideLayout1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Layouts/slideLayout12.xml" ContentType="application/vnd.openxmlformats-officedocument.presentationml.slideLayout+xml"/>
  <Override PartName="/ppt/slideLayouts/slideLayout21.xml" ContentType="application/vnd.openxmlformats-officedocument.presentationml.slideLayout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>
  <p:sldMasterIdLst>
    <p:sldMasterId id="2147483648" r:id="rId1"/>
    <p:sldMasterId id="2147483649" r:id="rId2"/>
  </p:sldMasterIdLst>
  <p:notesMasterIdLst>
    <p:notesMasterId r:id="rId17"/>
  </p:notesMasterIdLst>
  <p:handoutMasterIdLst>
    <p:handoutMasterId r:id="rId18"/>
  </p:handoutMasterIdLst>
  <p:sldIdLst>
    <p:sldId id="256" r:id="rId3"/>
    <p:sldId id="429" r:id="rId4"/>
    <p:sldId id="420" r:id="rId5"/>
    <p:sldId id="428" r:id="rId6"/>
    <p:sldId id="446" r:id="rId7"/>
    <p:sldId id="432" r:id="rId8"/>
    <p:sldId id="430" r:id="rId9"/>
    <p:sldId id="422" r:id="rId10"/>
    <p:sldId id="431" r:id="rId11"/>
    <p:sldId id="427" r:id="rId12"/>
    <p:sldId id="433" r:id="rId13"/>
    <p:sldId id="434" r:id="rId14"/>
    <p:sldId id="435" r:id="rId15"/>
    <p:sldId id="436" r:id="rId16"/>
  </p:sldIdLst>
  <p:sldSz cx="9144000" cy="6858000" type="screen4x3"/>
  <p:notesSz cx="6669088" cy="9928225"/>
  <p:defaultTextStyle>
    <a:defPPr>
      <a:defRPr lang="en-GB"/>
    </a:defPPr>
    <a:lvl1pPr algn="l" defTabSz="449263" rtl="0" fontAlgn="base">
      <a:spcBef>
        <a:spcPct val="0"/>
      </a:spcBef>
      <a:spcAft>
        <a:spcPct val="0"/>
      </a:spcAft>
      <a:defRPr kern="1200">
        <a:solidFill>
          <a:schemeClr val="bg1"/>
        </a:solidFill>
        <a:latin typeface="Arial" charset="0"/>
        <a:ea typeface="Lucida Sans Unicode" pitchFamily="34" charset="0"/>
        <a:cs typeface="Lucida Sans Unicode" pitchFamily="34" charset="0"/>
      </a:defRPr>
    </a:lvl1pPr>
    <a:lvl2pPr marL="742950" indent="-285750" algn="l" defTabSz="449263" rtl="0" fontAlgn="base">
      <a:spcBef>
        <a:spcPct val="0"/>
      </a:spcBef>
      <a:spcAft>
        <a:spcPct val="0"/>
      </a:spcAft>
      <a:defRPr kern="1200">
        <a:solidFill>
          <a:schemeClr val="bg1"/>
        </a:solidFill>
        <a:latin typeface="Arial" charset="0"/>
        <a:ea typeface="Lucida Sans Unicode" pitchFamily="34" charset="0"/>
        <a:cs typeface="Lucida Sans Unicode" pitchFamily="34" charset="0"/>
      </a:defRPr>
    </a:lvl2pPr>
    <a:lvl3pPr marL="1143000" indent="-228600" algn="l" defTabSz="449263" rtl="0" fontAlgn="base">
      <a:spcBef>
        <a:spcPct val="0"/>
      </a:spcBef>
      <a:spcAft>
        <a:spcPct val="0"/>
      </a:spcAft>
      <a:defRPr kern="1200">
        <a:solidFill>
          <a:schemeClr val="bg1"/>
        </a:solidFill>
        <a:latin typeface="Arial" charset="0"/>
        <a:ea typeface="Lucida Sans Unicode" pitchFamily="34" charset="0"/>
        <a:cs typeface="Lucida Sans Unicode" pitchFamily="34" charset="0"/>
      </a:defRPr>
    </a:lvl3pPr>
    <a:lvl4pPr marL="1600200" indent="-228600" algn="l" defTabSz="449263" rtl="0" fontAlgn="base">
      <a:spcBef>
        <a:spcPct val="0"/>
      </a:spcBef>
      <a:spcAft>
        <a:spcPct val="0"/>
      </a:spcAft>
      <a:defRPr kern="1200">
        <a:solidFill>
          <a:schemeClr val="bg1"/>
        </a:solidFill>
        <a:latin typeface="Arial" charset="0"/>
        <a:ea typeface="Lucida Sans Unicode" pitchFamily="34" charset="0"/>
        <a:cs typeface="Lucida Sans Unicode" pitchFamily="34" charset="0"/>
      </a:defRPr>
    </a:lvl4pPr>
    <a:lvl5pPr marL="2057400" indent="-228600" algn="l" defTabSz="449263" rtl="0" fontAlgn="base">
      <a:spcBef>
        <a:spcPct val="0"/>
      </a:spcBef>
      <a:spcAft>
        <a:spcPct val="0"/>
      </a:spcAft>
      <a:defRPr kern="1200">
        <a:solidFill>
          <a:schemeClr val="bg1"/>
        </a:solidFill>
        <a:latin typeface="Arial" charset="0"/>
        <a:ea typeface="Lucida Sans Unicode" pitchFamily="34" charset="0"/>
        <a:cs typeface="Lucida Sans Unicode" pitchFamily="34" charset="0"/>
      </a:defRPr>
    </a:lvl5pPr>
    <a:lvl6pPr marL="2286000" algn="l" defTabSz="914400" rtl="0" eaLnBrk="1" latinLnBrk="0" hangingPunct="1">
      <a:defRPr kern="1200">
        <a:solidFill>
          <a:schemeClr val="bg1"/>
        </a:solidFill>
        <a:latin typeface="Arial" charset="0"/>
        <a:ea typeface="Lucida Sans Unicode" pitchFamily="34" charset="0"/>
        <a:cs typeface="Lucida Sans Unicode" pitchFamily="34" charset="0"/>
      </a:defRPr>
    </a:lvl6pPr>
    <a:lvl7pPr marL="2743200" algn="l" defTabSz="914400" rtl="0" eaLnBrk="1" latinLnBrk="0" hangingPunct="1">
      <a:defRPr kern="1200">
        <a:solidFill>
          <a:schemeClr val="bg1"/>
        </a:solidFill>
        <a:latin typeface="Arial" charset="0"/>
        <a:ea typeface="Lucida Sans Unicode" pitchFamily="34" charset="0"/>
        <a:cs typeface="Lucida Sans Unicode" pitchFamily="34" charset="0"/>
      </a:defRPr>
    </a:lvl7pPr>
    <a:lvl8pPr marL="3200400" algn="l" defTabSz="914400" rtl="0" eaLnBrk="1" latinLnBrk="0" hangingPunct="1">
      <a:defRPr kern="1200">
        <a:solidFill>
          <a:schemeClr val="bg1"/>
        </a:solidFill>
        <a:latin typeface="Arial" charset="0"/>
        <a:ea typeface="Lucida Sans Unicode" pitchFamily="34" charset="0"/>
        <a:cs typeface="Lucida Sans Unicode" pitchFamily="34" charset="0"/>
      </a:defRPr>
    </a:lvl8pPr>
    <a:lvl9pPr marL="3657600" algn="l" defTabSz="914400" rtl="0" eaLnBrk="1" latinLnBrk="0" hangingPunct="1">
      <a:defRPr kern="1200">
        <a:solidFill>
          <a:schemeClr val="bg1"/>
        </a:solidFill>
        <a:latin typeface="Arial" charset="0"/>
        <a:ea typeface="Lucida Sans Unicode" pitchFamily="34" charset="0"/>
        <a:cs typeface="Lucida Sans Unicode" pitchFamily="34" charset="0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FF9900"/>
    <a:srgbClr val="000099"/>
    <a:srgbClr val="EE7700"/>
    <a:srgbClr val="FFCC99"/>
    <a:srgbClr val="FCDDA9"/>
    <a:srgbClr val="FF9933"/>
    <a:srgbClr val="DEDEDE"/>
    <a:srgbClr val="CCCCCC"/>
    <a:srgbClr val="F9C66D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3897" autoAdjust="0"/>
    <p:restoredTop sz="99822" autoAdjust="0"/>
  </p:normalViewPr>
  <p:slideViewPr>
    <p:cSldViewPr>
      <p:cViewPr>
        <p:scale>
          <a:sx n="100" d="100"/>
          <a:sy n="100" d="100"/>
        </p:scale>
        <p:origin x="-72" y="492"/>
      </p:cViewPr>
      <p:guideLst>
        <p:guide orient="horz" pos="1117"/>
        <p:guide pos="451"/>
      </p:guideLst>
    </p:cSldViewPr>
  </p:slideViewPr>
  <p:outlineViewPr>
    <p:cViewPr varScale="1">
      <p:scale>
        <a:sx n="170" d="200"/>
        <a:sy n="170" d="200"/>
      </p:scale>
      <p:origin x="0" y="7326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 varScale="1">
        <p:scale>
          <a:sx n="77" d="100"/>
          <a:sy n="77" d="100"/>
        </p:scale>
        <p:origin x="-3906" y="-90"/>
      </p:cViewPr>
      <p:guideLst>
        <p:guide orient="horz" pos="2794"/>
        <p:guide pos="2029"/>
      </p:guideLst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handoutMaster" Target="handoutMasters/handoutMaster1.xml"/><Relationship Id="rId3" Type="http://schemas.openxmlformats.org/officeDocument/2006/relationships/slide" Target="slides/slide1.xml"/><Relationship Id="rId21" Type="http://schemas.openxmlformats.org/officeDocument/2006/relationships/theme" Target="theme/them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10" Type="http://schemas.openxmlformats.org/officeDocument/2006/relationships/slide" Target="slides/slide8.xml"/><Relationship Id="rId19" Type="http://schemas.openxmlformats.org/officeDocument/2006/relationships/presProps" Target="pres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Office_Excel_munkalap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hu-HU"/>
  <c:chart>
    <c:plotArea>
      <c:layout>
        <c:manualLayout>
          <c:layoutTarget val="inner"/>
          <c:xMode val="edge"/>
          <c:yMode val="edge"/>
          <c:x val="9.1848450057405287E-2"/>
          <c:y val="0.16337522441651706"/>
          <c:w val="0.61997703788748582"/>
          <c:h val="0.70377019748653513"/>
        </c:manualLayout>
      </c:layout>
      <c:scatterChart>
        <c:scatterStyle val="smoothMarker"/>
        <c:ser>
          <c:idx val="1"/>
          <c:order val="0"/>
          <c:tx>
            <c:v>Durchschnittlicher geoth. Gradient</c:v>
          </c:tx>
          <c:spPr>
            <a:ln w="28954">
              <a:solidFill>
                <a:srgbClr val="333399"/>
              </a:solidFill>
              <a:prstDash val="solid"/>
            </a:ln>
          </c:spPr>
          <c:marker>
            <c:symbol val="none"/>
          </c:marker>
          <c:xVal>
            <c:numRef>
              <c:f>Temperatur!$B$2:$B$637</c:f>
              <c:numCache>
                <c:formatCode>General</c:formatCode>
                <c:ptCount val="636"/>
                <c:pt idx="0">
                  <c:v>13.17</c:v>
                </c:pt>
                <c:pt idx="1">
                  <c:v>13.29</c:v>
                </c:pt>
                <c:pt idx="2">
                  <c:v>13.407</c:v>
                </c:pt>
                <c:pt idx="3">
                  <c:v>13.524000000000001</c:v>
                </c:pt>
                <c:pt idx="4">
                  <c:v>13.640999999999998</c:v>
                </c:pt>
                <c:pt idx="5">
                  <c:v>13.758000000000001</c:v>
                </c:pt>
                <c:pt idx="6">
                  <c:v>13.875000000000002</c:v>
                </c:pt>
                <c:pt idx="7">
                  <c:v>13.992000000000001</c:v>
                </c:pt>
                <c:pt idx="8">
                  <c:v>14.109</c:v>
                </c:pt>
                <c:pt idx="9">
                  <c:v>14.226000000000001</c:v>
                </c:pt>
                <c:pt idx="10">
                  <c:v>14.343</c:v>
                </c:pt>
                <c:pt idx="11">
                  <c:v>14.46</c:v>
                </c:pt>
                <c:pt idx="12">
                  <c:v>14.574</c:v>
                </c:pt>
                <c:pt idx="13">
                  <c:v>14.691000000000001</c:v>
                </c:pt>
                <c:pt idx="14">
                  <c:v>14.808</c:v>
                </c:pt>
                <c:pt idx="15">
                  <c:v>14.925000000000002</c:v>
                </c:pt>
                <c:pt idx="16">
                  <c:v>15.042</c:v>
                </c:pt>
                <c:pt idx="17">
                  <c:v>15.159000000000002</c:v>
                </c:pt>
                <c:pt idx="18">
                  <c:v>15.276</c:v>
                </c:pt>
                <c:pt idx="19">
                  <c:v>15.393000000000002</c:v>
                </c:pt>
                <c:pt idx="20">
                  <c:v>15.51</c:v>
                </c:pt>
                <c:pt idx="21">
                  <c:v>15.627000000000001</c:v>
                </c:pt>
                <c:pt idx="22">
                  <c:v>15.743999999999998</c:v>
                </c:pt>
                <c:pt idx="23">
                  <c:v>15.861000000000002</c:v>
                </c:pt>
                <c:pt idx="24">
                  <c:v>15.978</c:v>
                </c:pt>
                <c:pt idx="25">
                  <c:v>16.094999999999999</c:v>
                </c:pt>
                <c:pt idx="26">
                  <c:v>16.212</c:v>
                </c:pt>
                <c:pt idx="27">
                  <c:v>16.329000000000001</c:v>
                </c:pt>
                <c:pt idx="28">
                  <c:v>16.445999999999991</c:v>
                </c:pt>
                <c:pt idx="29">
                  <c:v>16.562999999999995</c:v>
                </c:pt>
                <c:pt idx="30">
                  <c:v>16.68</c:v>
                </c:pt>
                <c:pt idx="31">
                  <c:v>16.797000000000001</c:v>
                </c:pt>
                <c:pt idx="32">
                  <c:v>16.911000000000001</c:v>
                </c:pt>
                <c:pt idx="33">
                  <c:v>17.027999999999999</c:v>
                </c:pt>
                <c:pt idx="34">
                  <c:v>17.145</c:v>
                </c:pt>
                <c:pt idx="35">
                  <c:v>17.261999999999997</c:v>
                </c:pt>
                <c:pt idx="36">
                  <c:v>17.379000000000001</c:v>
                </c:pt>
                <c:pt idx="37">
                  <c:v>17.496000000000002</c:v>
                </c:pt>
                <c:pt idx="38">
                  <c:v>17.613000000000003</c:v>
                </c:pt>
                <c:pt idx="39">
                  <c:v>17.73</c:v>
                </c:pt>
                <c:pt idx="40">
                  <c:v>17.847000000000001</c:v>
                </c:pt>
                <c:pt idx="41">
                  <c:v>17.963999999999995</c:v>
                </c:pt>
                <c:pt idx="42">
                  <c:v>18.081</c:v>
                </c:pt>
                <c:pt idx="43">
                  <c:v>18.198</c:v>
                </c:pt>
                <c:pt idx="44">
                  <c:v>18.315000000000001</c:v>
                </c:pt>
                <c:pt idx="45">
                  <c:v>18.431999999999999</c:v>
                </c:pt>
                <c:pt idx="46">
                  <c:v>18.548999999999996</c:v>
                </c:pt>
                <c:pt idx="47">
                  <c:v>18.666</c:v>
                </c:pt>
                <c:pt idx="48">
                  <c:v>18.782999999999998</c:v>
                </c:pt>
                <c:pt idx="49">
                  <c:v>18.899999999999999</c:v>
                </c:pt>
                <c:pt idx="50">
                  <c:v>19.016999999999999</c:v>
                </c:pt>
                <c:pt idx="51">
                  <c:v>19.134000000000004</c:v>
                </c:pt>
                <c:pt idx="52">
                  <c:v>19.247999999999994</c:v>
                </c:pt>
                <c:pt idx="53">
                  <c:v>19.364999999999995</c:v>
                </c:pt>
                <c:pt idx="54">
                  <c:v>19.481999999999996</c:v>
                </c:pt>
                <c:pt idx="55">
                  <c:v>19.599</c:v>
                </c:pt>
                <c:pt idx="56">
                  <c:v>19.716000000000001</c:v>
                </c:pt>
                <c:pt idx="57">
                  <c:v>19.832999999999995</c:v>
                </c:pt>
                <c:pt idx="58">
                  <c:v>19.95</c:v>
                </c:pt>
                <c:pt idx="59">
                  <c:v>20.067</c:v>
                </c:pt>
                <c:pt idx="60">
                  <c:v>20.184000000000001</c:v>
                </c:pt>
                <c:pt idx="61">
                  <c:v>20.301000000000005</c:v>
                </c:pt>
                <c:pt idx="62">
                  <c:v>20.417999999999999</c:v>
                </c:pt>
                <c:pt idx="63">
                  <c:v>20.535</c:v>
                </c:pt>
                <c:pt idx="64">
                  <c:v>20.652000000000001</c:v>
                </c:pt>
                <c:pt idx="65">
                  <c:v>20.768999999999991</c:v>
                </c:pt>
                <c:pt idx="66">
                  <c:v>20.885999999999996</c:v>
                </c:pt>
                <c:pt idx="67">
                  <c:v>21.003</c:v>
                </c:pt>
                <c:pt idx="68">
                  <c:v>21.12</c:v>
                </c:pt>
                <c:pt idx="69">
                  <c:v>21.236999999999995</c:v>
                </c:pt>
                <c:pt idx="70">
                  <c:v>21.353999999999999</c:v>
                </c:pt>
                <c:pt idx="71">
                  <c:v>21.471</c:v>
                </c:pt>
                <c:pt idx="72">
                  <c:v>21.584999999999997</c:v>
                </c:pt>
                <c:pt idx="73">
                  <c:v>21.701999999999995</c:v>
                </c:pt>
                <c:pt idx="74">
                  <c:v>21.818999999999999</c:v>
                </c:pt>
                <c:pt idx="75">
                  <c:v>21.936</c:v>
                </c:pt>
                <c:pt idx="76">
                  <c:v>22.052999999999994</c:v>
                </c:pt>
                <c:pt idx="77">
                  <c:v>22.17</c:v>
                </c:pt>
                <c:pt idx="78">
                  <c:v>22.286999999999995</c:v>
                </c:pt>
                <c:pt idx="79">
                  <c:v>22.403999999999993</c:v>
                </c:pt>
                <c:pt idx="80">
                  <c:v>22.521000000000001</c:v>
                </c:pt>
                <c:pt idx="81">
                  <c:v>22.637999999999998</c:v>
                </c:pt>
                <c:pt idx="82">
                  <c:v>22.754999999999999</c:v>
                </c:pt>
                <c:pt idx="83">
                  <c:v>22.872</c:v>
                </c:pt>
                <c:pt idx="84">
                  <c:v>22.98899999999999</c:v>
                </c:pt>
                <c:pt idx="85">
                  <c:v>23.106000000000005</c:v>
                </c:pt>
                <c:pt idx="86">
                  <c:v>23.222999999999995</c:v>
                </c:pt>
                <c:pt idx="87">
                  <c:v>23.34</c:v>
                </c:pt>
                <c:pt idx="88">
                  <c:v>23.457000000000001</c:v>
                </c:pt>
                <c:pt idx="89">
                  <c:v>23.573999999999995</c:v>
                </c:pt>
                <c:pt idx="90">
                  <c:v>23.690999999999999</c:v>
                </c:pt>
                <c:pt idx="91">
                  <c:v>23.808</c:v>
                </c:pt>
                <c:pt idx="92">
                  <c:v>23.921999999999993</c:v>
                </c:pt>
                <c:pt idx="93">
                  <c:v>24.038999999999994</c:v>
                </c:pt>
                <c:pt idx="94">
                  <c:v>24.155999999999999</c:v>
                </c:pt>
                <c:pt idx="95">
                  <c:v>24.272999999999993</c:v>
                </c:pt>
                <c:pt idx="96">
                  <c:v>24.39</c:v>
                </c:pt>
                <c:pt idx="97">
                  <c:v>24.506999999999994</c:v>
                </c:pt>
                <c:pt idx="98">
                  <c:v>24.623999999999999</c:v>
                </c:pt>
                <c:pt idx="99">
                  <c:v>24.741</c:v>
                </c:pt>
                <c:pt idx="100">
                  <c:v>24.857999999999997</c:v>
                </c:pt>
                <c:pt idx="101">
                  <c:v>24.974999999999998</c:v>
                </c:pt>
                <c:pt idx="102">
                  <c:v>25.091999999999999</c:v>
                </c:pt>
                <c:pt idx="103">
                  <c:v>25.208999999999993</c:v>
                </c:pt>
                <c:pt idx="104">
                  <c:v>25.326000000000001</c:v>
                </c:pt>
                <c:pt idx="105">
                  <c:v>25.442999999999991</c:v>
                </c:pt>
                <c:pt idx="106">
                  <c:v>25.56</c:v>
                </c:pt>
                <c:pt idx="107">
                  <c:v>25.677000000000003</c:v>
                </c:pt>
                <c:pt idx="108">
                  <c:v>25.793999999999993</c:v>
                </c:pt>
                <c:pt idx="109">
                  <c:v>25.911000000000001</c:v>
                </c:pt>
                <c:pt idx="110">
                  <c:v>26.027999999999999</c:v>
                </c:pt>
                <c:pt idx="111">
                  <c:v>26.145</c:v>
                </c:pt>
                <c:pt idx="112">
                  <c:v>26.259</c:v>
                </c:pt>
                <c:pt idx="113">
                  <c:v>26.375999999999994</c:v>
                </c:pt>
                <c:pt idx="114">
                  <c:v>26.492999999999995</c:v>
                </c:pt>
                <c:pt idx="115">
                  <c:v>26.610000000000003</c:v>
                </c:pt>
                <c:pt idx="116">
                  <c:v>26.726999999999993</c:v>
                </c:pt>
                <c:pt idx="117">
                  <c:v>26.843999999999994</c:v>
                </c:pt>
                <c:pt idx="118">
                  <c:v>26.960999999999995</c:v>
                </c:pt>
                <c:pt idx="119">
                  <c:v>27.077999999999996</c:v>
                </c:pt>
                <c:pt idx="120">
                  <c:v>27.195</c:v>
                </c:pt>
                <c:pt idx="121">
                  <c:v>27.311999999999998</c:v>
                </c:pt>
                <c:pt idx="122">
                  <c:v>27.428999999999991</c:v>
                </c:pt>
                <c:pt idx="123">
                  <c:v>27.545999999999996</c:v>
                </c:pt>
                <c:pt idx="124">
                  <c:v>27.662999999999993</c:v>
                </c:pt>
                <c:pt idx="125">
                  <c:v>27.779999999999998</c:v>
                </c:pt>
                <c:pt idx="126">
                  <c:v>27.896999999999995</c:v>
                </c:pt>
                <c:pt idx="127">
                  <c:v>28.013999999999996</c:v>
                </c:pt>
                <c:pt idx="128">
                  <c:v>28.131000000000004</c:v>
                </c:pt>
                <c:pt idx="129">
                  <c:v>28.247999999999994</c:v>
                </c:pt>
                <c:pt idx="130">
                  <c:v>28.364999999999995</c:v>
                </c:pt>
                <c:pt idx="131">
                  <c:v>28.481999999999996</c:v>
                </c:pt>
                <c:pt idx="132">
                  <c:v>28.595999999999993</c:v>
                </c:pt>
                <c:pt idx="133">
                  <c:v>28.713000000000001</c:v>
                </c:pt>
                <c:pt idx="134">
                  <c:v>28.830000000000002</c:v>
                </c:pt>
                <c:pt idx="135">
                  <c:v>28.946999999999996</c:v>
                </c:pt>
                <c:pt idx="136">
                  <c:v>29.064</c:v>
                </c:pt>
                <c:pt idx="137">
                  <c:v>29.180999999999994</c:v>
                </c:pt>
                <c:pt idx="138">
                  <c:v>29.298000000000002</c:v>
                </c:pt>
                <c:pt idx="139">
                  <c:v>29.414999999999999</c:v>
                </c:pt>
                <c:pt idx="140">
                  <c:v>29.531999999999996</c:v>
                </c:pt>
                <c:pt idx="141">
                  <c:v>29.649000000000001</c:v>
                </c:pt>
                <c:pt idx="142">
                  <c:v>29.765999999999991</c:v>
                </c:pt>
                <c:pt idx="143">
                  <c:v>29.883000000000003</c:v>
                </c:pt>
                <c:pt idx="144">
                  <c:v>30</c:v>
                </c:pt>
                <c:pt idx="145">
                  <c:v>30.116999999999997</c:v>
                </c:pt>
                <c:pt idx="146">
                  <c:v>30.233999999999991</c:v>
                </c:pt>
                <c:pt idx="147">
                  <c:v>30.350999999999999</c:v>
                </c:pt>
                <c:pt idx="148">
                  <c:v>30.468</c:v>
                </c:pt>
                <c:pt idx="149">
                  <c:v>30.584999999999997</c:v>
                </c:pt>
                <c:pt idx="150">
                  <c:v>30.701999999999995</c:v>
                </c:pt>
                <c:pt idx="151">
                  <c:v>30.818999999999996</c:v>
                </c:pt>
                <c:pt idx="152">
                  <c:v>30.933</c:v>
                </c:pt>
                <c:pt idx="153">
                  <c:v>31.05</c:v>
                </c:pt>
                <c:pt idx="154">
                  <c:v>31.167000000000005</c:v>
                </c:pt>
                <c:pt idx="155">
                  <c:v>31.283999999999995</c:v>
                </c:pt>
                <c:pt idx="156">
                  <c:v>31.400999999999993</c:v>
                </c:pt>
                <c:pt idx="157">
                  <c:v>31.518000000000001</c:v>
                </c:pt>
                <c:pt idx="158">
                  <c:v>31.635000000000005</c:v>
                </c:pt>
                <c:pt idx="159">
                  <c:v>31.751999999999992</c:v>
                </c:pt>
                <c:pt idx="160">
                  <c:v>31.869</c:v>
                </c:pt>
                <c:pt idx="161">
                  <c:v>31.98599999999999</c:v>
                </c:pt>
                <c:pt idx="162">
                  <c:v>32.103000000000002</c:v>
                </c:pt>
                <c:pt idx="163">
                  <c:v>32.220000000000006</c:v>
                </c:pt>
                <c:pt idx="164">
                  <c:v>32.337000000000003</c:v>
                </c:pt>
                <c:pt idx="165">
                  <c:v>32.453999999999994</c:v>
                </c:pt>
                <c:pt idx="166">
                  <c:v>32.571000000000005</c:v>
                </c:pt>
                <c:pt idx="167">
                  <c:v>32.688000000000002</c:v>
                </c:pt>
                <c:pt idx="168">
                  <c:v>32.805</c:v>
                </c:pt>
                <c:pt idx="169">
                  <c:v>32.922000000000004</c:v>
                </c:pt>
                <c:pt idx="170">
                  <c:v>33.039000000000009</c:v>
                </c:pt>
                <c:pt idx="171">
                  <c:v>33.156000000000006</c:v>
                </c:pt>
                <c:pt idx="172">
                  <c:v>33.270000000000003</c:v>
                </c:pt>
                <c:pt idx="173">
                  <c:v>33.386999999999993</c:v>
                </c:pt>
                <c:pt idx="174">
                  <c:v>33.504000000000005</c:v>
                </c:pt>
                <c:pt idx="175">
                  <c:v>33.621000000000009</c:v>
                </c:pt>
                <c:pt idx="176">
                  <c:v>33.738000000000007</c:v>
                </c:pt>
                <c:pt idx="177">
                  <c:v>33.854999999999997</c:v>
                </c:pt>
                <c:pt idx="178">
                  <c:v>33.972000000000001</c:v>
                </c:pt>
                <c:pt idx="179">
                  <c:v>34.089000000000006</c:v>
                </c:pt>
                <c:pt idx="180">
                  <c:v>34.20600000000001</c:v>
                </c:pt>
                <c:pt idx="181">
                  <c:v>34.323</c:v>
                </c:pt>
                <c:pt idx="182">
                  <c:v>34.44</c:v>
                </c:pt>
                <c:pt idx="183">
                  <c:v>34.557000000000002</c:v>
                </c:pt>
                <c:pt idx="184">
                  <c:v>34.674000000000007</c:v>
                </c:pt>
                <c:pt idx="185">
                  <c:v>34.791000000000011</c:v>
                </c:pt>
                <c:pt idx="186">
                  <c:v>34.908000000000001</c:v>
                </c:pt>
                <c:pt idx="187">
                  <c:v>35.025000000000006</c:v>
                </c:pt>
                <c:pt idx="188">
                  <c:v>35.142000000000003</c:v>
                </c:pt>
                <c:pt idx="189">
                  <c:v>35.259</c:v>
                </c:pt>
                <c:pt idx="190">
                  <c:v>35.376000000000005</c:v>
                </c:pt>
                <c:pt idx="191">
                  <c:v>35.493000000000002</c:v>
                </c:pt>
                <c:pt idx="192">
                  <c:v>35.607000000000006</c:v>
                </c:pt>
                <c:pt idx="193">
                  <c:v>35.724000000000011</c:v>
                </c:pt>
                <c:pt idx="194">
                  <c:v>35.841000000000001</c:v>
                </c:pt>
                <c:pt idx="195">
                  <c:v>35.957999999999998</c:v>
                </c:pt>
                <c:pt idx="196">
                  <c:v>36.075000000000003</c:v>
                </c:pt>
                <c:pt idx="197">
                  <c:v>36.192000000000007</c:v>
                </c:pt>
                <c:pt idx="198">
                  <c:v>36.309000000000005</c:v>
                </c:pt>
                <c:pt idx="199">
                  <c:v>36.426000000000009</c:v>
                </c:pt>
                <c:pt idx="200">
                  <c:v>36.543000000000006</c:v>
                </c:pt>
                <c:pt idx="201">
                  <c:v>36.660000000000004</c:v>
                </c:pt>
                <c:pt idx="202">
                  <c:v>36.777000000000001</c:v>
                </c:pt>
                <c:pt idx="203">
                  <c:v>36.894000000000005</c:v>
                </c:pt>
                <c:pt idx="204">
                  <c:v>37.011000000000003</c:v>
                </c:pt>
                <c:pt idx="205">
                  <c:v>37.128000000000007</c:v>
                </c:pt>
                <c:pt idx="206">
                  <c:v>37.245000000000005</c:v>
                </c:pt>
                <c:pt idx="207">
                  <c:v>37.362000000000002</c:v>
                </c:pt>
                <c:pt idx="208">
                  <c:v>37.479000000000006</c:v>
                </c:pt>
                <c:pt idx="209">
                  <c:v>37.596000000000011</c:v>
                </c:pt>
                <c:pt idx="210">
                  <c:v>37.713000000000001</c:v>
                </c:pt>
                <c:pt idx="211">
                  <c:v>37.83</c:v>
                </c:pt>
                <c:pt idx="212">
                  <c:v>37.944000000000003</c:v>
                </c:pt>
                <c:pt idx="213">
                  <c:v>38.061</c:v>
                </c:pt>
                <c:pt idx="214">
                  <c:v>38.178000000000004</c:v>
                </c:pt>
                <c:pt idx="215">
                  <c:v>38.295000000000009</c:v>
                </c:pt>
                <c:pt idx="216">
                  <c:v>38.411999999999999</c:v>
                </c:pt>
                <c:pt idx="217">
                  <c:v>38.529000000000011</c:v>
                </c:pt>
                <c:pt idx="218">
                  <c:v>38.646000000000008</c:v>
                </c:pt>
                <c:pt idx="219">
                  <c:v>38.763000000000012</c:v>
                </c:pt>
                <c:pt idx="220">
                  <c:v>38.879999999999995</c:v>
                </c:pt>
                <c:pt idx="221">
                  <c:v>38.997</c:v>
                </c:pt>
                <c:pt idx="222">
                  <c:v>39.114000000000004</c:v>
                </c:pt>
                <c:pt idx="223">
                  <c:v>39.231000000000009</c:v>
                </c:pt>
                <c:pt idx="224">
                  <c:v>39.347999999999999</c:v>
                </c:pt>
                <c:pt idx="225">
                  <c:v>39.465000000000003</c:v>
                </c:pt>
                <c:pt idx="226">
                  <c:v>39.582000000000001</c:v>
                </c:pt>
                <c:pt idx="227">
                  <c:v>39.699000000000012</c:v>
                </c:pt>
                <c:pt idx="228">
                  <c:v>39.816000000000003</c:v>
                </c:pt>
                <c:pt idx="229">
                  <c:v>39.933</c:v>
                </c:pt>
                <c:pt idx="230">
                  <c:v>40.050000000000004</c:v>
                </c:pt>
                <c:pt idx="231">
                  <c:v>40.167000000000002</c:v>
                </c:pt>
                <c:pt idx="232">
                  <c:v>40.281000000000006</c:v>
                </c:pt>
                <c:pt idx="233">
                  <c:v>40.398000000000003</c:v>
                </c:pt>
                <c:pt idx="234">
                  <c:v>40.515000000000001</c:v>
                </c:pt>
                <c:pt idx="235">
                  <c:v>40.632000000000005</c:v>
                </c:pt>
                <c:pt idx="236">
                  <c:v>40.749000000000009</c:v>
                </c:pt>
                <c:pt idx="237">
                  <c:v>40.866</c:v>
                </c:pt>
                <c:pt idx="238">
                  <c:v>40.983000000000004</c:v>
                </c:pt>
                <c:pt idx="239">
                  <c:v>41.1</c:v>
                </c:pt>
                <c:pt idx="240">
                  <c:v>41.217000000000006</c:v>
                </c:pt>
                <c:pt idx="241">
                  <c:v>41.334000000000003</c:v>
                </c:pt>
                <c:pt idx="242">
                  <c:v>41.450999999999993</c:v>
                </c:pt>
                <c:pt idx="243">
                  <c:v>41.568000000000005</c:v>
                </c:pt>
                <c:pt idx="244">
                  <c:v>41.685000000000002</c:v>
                </c:pt>
                <c:pt idx="245">
                  <c:v>41.802</c:v>
                </c:pt>
                <c:pt idx="246">
                  <c:v>41.919000000000004</c:v>
                </c:pt>
                <c:pt idx="247">
                  <c:v>42.036000000000008</c:v>
                </c:pt>
                <c:pt idx="248">
                  <c:v>42.153000000000006</c:v>
                </c:pt>
                <c:pt idx="249">
                  <c:v>42.27</c:v>
                </c:pt>
                <c:pt idx="250">
                  <c:v>42.386999999999993</c:v>
                </c:pt>
                <c:pt idx="251">
                  <c:v>42.504000000000005</c:v>
                </c:pt>
                <c:pt idx="252">
                  <c:v>42.618000000000002</c:v>
                </c:pt>
                <c:pt idx="253">
                  <c:v>42.735000000000007</c:v>
                </c:pt>
                <c:pt idx="254">
                  <c:v>42.851999999999997</c:v>
                </c:pt>
                <c:pt idx="255">
                  <c:v>42.969000000000008</c:v>
                </c:pt>
                <c:pt idx="256">
                  <c:v>43.086000000000006</c:v>
                </c:pt>
                <c:pt idx="257">
                  <c:v>43.203000000000003</c:v>
                </c:pt>
                <c:pt idx="258">
                  <c:v>43.32</c:v>
                </c:pt>
                <c:pt idx="259">
                  <c:v>43.437000000000005</c:v>
                </c:pt>
                <c:pt idx="260">
                  <c:v>43.554000000000002</c:v>
                </c:pt>
                <c:pt idx="261">
                  <c:v>43.671000000000006</c:v>
                </c:pt>
                <c:pt idx="262">
                  <c:v>43.788000000000004</c:v>
                </c:pt>
                <c:pt idx="263">
                  <c:v>43.905000000000001</c:v>
                </c:pt>
                <c:pt idx="264">
                  <c:v>44.022000000000006</c:v>
                </c:pt>
                <c:pt idx="265">
                  <c:v>44.139000000000003</c:v>
                </c:pt>
                <c:pt idx="266">
                  <c:v>44.256</c:v>
                </c:pt>
                <c:pt idx="267">
                  <c:v>44.373000000000005</c:v>
                </c:pt>
                <c:pt idx="268">
                  <c:v>44.49</c:v>
                </c:pt>
                <c:pt idx="269">
                  <c:v>44.607000000000006</c:v>
                </c:pt>
                <c:pt idx="270">
                  <c:v>44.724000000000011</c:v>
                </c:pt>
                <c:pt idx="271">
                  <c:v>44.840999999999994</c:v>
                </c:pt>
                <c:pt idx="272">
                  <c:v>44.954999999999998</c:v>
                </c:pt>
                <c:pt idx="273">
                  <c:v>45.072000000000003</c:v>
                </c:pt>
                <c:pt idx="274">
                  <c:v>45.189000000000007</c:v>
                </c:pt>
                <c:pt idx="275">
                  <c:v>45.306000000000004</c:v>
                </c:pt>
                <c:pt idx="276">
                  <c:v>45.423000000000002</c:v>
                </c:pt>
                <c:pt idx="277">
                  <c:v>45.54</c:v>
                </c:pt>
                <c:pt idx="278">
                  <c:v>45.657000000000004</c:v>
                </c:pt>
                <c:pt idx="279">
                  <c:v>45.774000000000008</c:v>
                </c:pt>
                <c:pt idx="280">
                  <c:v>45.891000000000005</c:v>
                </c:pt>
                <c:pt idx="281">
                  <c:v>46.008000000000003</c:v>
                </c:pt>
                <c:pt idx="282">
                  <c:v>46.125000000000007</c:v>
                </c:pt>
                <c:pt idx="283">
                  <c:v>46.242000000000012</c:v>
                </c:pt>
                <c:pt idx="284">
                  <c:v>46.359000000000002</c:v>
                </c:pt>
                <c:pt idx="285">
                  <c:v>46.476000000000006</c:v>
                </c:pt>
                <c:pt idx="286">
                  <c:v>46.593000000000011</c:v>
                </c:pt>
                <c:pt idx="287">
                  <c:v>46.71</c:v>
                </c:pt>
                <c:pt idx="288">
                  <c:v>46.827000000000005</c:v>
                </c:pt>
                <c:pt idx="289">
                  <c:v>46.943999999999996</c:v>
                </c:pt>
                <c:pt idx="290">
                  <c:v>47.061</c:v>
                </c:pt>
                <c:pt idx="291">
                  <c:v>47.178000000000011</c:v>
                </c:pt>
                <c:pt idx="292">
                  <c:v>47.292000000000009</c:v>
                </c:pt>
                <c:pt idx="293">
                  <c:v>47.409000000000006</c:v>
                </c:pt>
                <c:pt idx="294">
                  <c:v>47.526000000000003</c:v>
                </c:pt>
                <c:pt idx="295">
                  <c:v>47.643000000000008</c:v>
                </c:pt>
                <c:pt idx="296">
                  <c:v>47.760000000000005</c:v>
                </c:pt>
                <c:pt idx="297">
                  <c:v>47.876999999999995</c:v>
                </c:pt>
                <c:pt idx="298">
                  <c:v>47.994000000000007</c:v>
                </c:pt>
                <c:pt idx="299">
                  <c:v>48.111000000000004</c:v>
                </c:pt>
                <c:pt idx="300">
                  <c:v>48.228000000000009</c:v>
                </c:pt>
                <c:pt idx="301">
                  <c:v>48.344999999999999</c:v>
                </c:pt>
                <c:pt idx="302">
                  <c:v>48.462000000000003</c:v>
                </c:pt>
                <c:pt idx="303">
                  <c:v>48.579000000000008</c:v>
                </c:pt>
                <c:pt idx="304">
                  <c:v>48.696000000000012</c:v>
                </c:pt>
                <c:pt idx="305">
                  <c:v>48.812999999999995</c:v>
                </c:pt>
                <c:pt idx="306">
                  <c:v>48.93</c:v>
                </c:pt>
                <c:pt idx="307">
                  <c:v>49.047000000000004</c:v>
                </c:pt>
                <c:pt idx="308">
                  <c:v>49.164000000000009</c:v>
                </c:pt>
                <c:pt idx="309">
                  <c:v>49.281000000000006</c:v>
                </c:pt>
                <c:pt idx="310">
                  <c:v>49.398000000000003</c:v>
                </c:pt>
                <c:pt idx="311">
                  <c:v>49.515000000000001</c:v>
                </c:pt>
                <c:pt idx="312">
                  <c:v>49.629000000000012</c:v>
                </c:pt>
                <c:pt idx="313">
                  <c:v>49.746000000000002</c:v>
                </c:pt>
                <c:pt idx="314">
                  <c:v>49.863000000000007</c:v>
                </c:pt>
                <c:pt idx="315">
                  <c:v>49.98</c:v>
                </c:pt>
                <c:pt idx="316">
                  <c:v>50.097000000000001</c:v>
                </c:pt>
                <c:pt idx="317">
                  <c:v>50.214000000000006</c:v>
                </c:pt>
                <c:pt idx="318">
                  <c:v>50.330999999999996</c:v>
                </c:pt>
                <c:pt idx="319">
                  <c:v>50.448000000000008</c:v>
                </c:pt>
                <c:pt idx="320">
                  <c:v>50.565000000000005</c:v>
                </c:pt>
                <c:pt idx="321">
                  <c:v>50.682000000000002</c:v>
                </c:pt>
                <c:pt idx="322">
                  <c:v>50.799000000000014</c:v>
                </c:pt>
                <c:pt idx="323">
                  <c:v>50.916000000000004</c:v>
                </c:pt>
                <c:pt idx="324">
                  <c:v>51.033000000000001</c:v>
                </c:pt>
                <c:pt idx="325">
                  <c:v>51.15</c:v>
                </c:pt>
                <c:pt idx="326">
                  <c:v>51.267000000000003</c:v>
                </c:pt>
                <c:pt idx="327">
                  <c:v>51.384</c:v>
                </c:pt>
                <c:pt idx="328">
                  <c:v>51.501000000000005</c:v>
                </c:pt>
                <c:pt idx="329">
                  <c:v>51.618000000000002</c:v>
                </c:pt>
                <c:pt idx="330">
                  <c:v>51.735000000000007</c:v>
                </c:pt>
                <c:pt idx="331">
                  <c:v>51.852000000000004</c:v>
                </c:pt>
                <c:pt idx="332">
                  <c:v>51.966000000000001</c:v>
                </c:pt>
                <c:pt idx="333">
                  <c:v>52.083000000000006</c:v>
                </c:pt>
                <c:pt idx="334">
                  <c:v>52.2</c:v>
                </c:pt>
                <c:pt idx="335">
                  <c:v>52.316999999999993</c:v>
                </c:pt>
                <c:pt idx="336">
                  <c:v>52.434000000000005</c:v>
                </c:pt>
                <c:pt idx="337">
                  <c:v>52.550999999999995</c:v>
                </c:pt>
                <c:pt idx="338">
                  <c:v>52.668000000000013</c:v>
                </c:pt>
                <c:pt idx="339">
                  <c:v>52.785000000000004</c:v>
                </c:pt>
                <c:pt idx="340">
                  <c:v>52.902000000000001</c:v>
                </c:pt>
                <c:pt idx="341">
                  <c:v>53.019000000000005</c:v>
                </c:pt>
                <c:pt idx="342">
                  <c:v>53.136000000000003</c:v>
                </c:pt>
                <c:pt idx="343">
                  <c:v>53.253000000000007</c:v>
                </c:pt>
                <c:pt idx="344">
                  <c:v>53.37</c:v>
                </c:pt>
                <c:pt idx="345">
                  <c:v>53.486999999999995</c:v>
                </c:pt>
                <c:pt idx="346">
                  <c:v>53.604000000000006</c:v>
                </c:pt>
                <c:pt idx="347">
                  <c:v>53.721000000000011</c:v>
                </c:pt>
                <c:pt idx="348">
                  <c:v>53.838000000000001</c:v>
                </c:pt>
                <c:pt idx="349">
                  <c:v>53.954999999999998</c:v>
                </c:pt>
                <c:pt idx="350">
                  <c:v>54.072000000000003</c:v>
                </c:pt>
                <c:pt idx="351">
                  <c:v>54.189000000000007</c:v>
                </c:pt>
                <c:pt idx="352">
                  <c:v>54.303000000000004</c:v>
                </c:pt>
                <c:pt idx="353">
                  <c:v>54.42</c:v>
                </c:pt>
                <c:pt idx="354">
                  <c:v>54.537000000000006</c:v>
                </c:pt>
                <c:pt idx="355">
                  <c:v>54.653999999999996</c:v>
                </c:pt>
                <c:pt idx="356">
                  <c:v>54.771000000000001</c:v>
                </c:pt>
                <c:pt idx="357">
                  <c:v>54.888000000000005</c:v>
                </c:pt>
                <c:pt idx="358">
                  <c:v>55.005000000000003</c:v>
                </c:pt>
                <c:pt idx="359">
                  <c:v>55.122000000000007</c:v>
                </c:pt>
                <c:pt idx="360">
                  <c:v>55.239000000000011</c:v>
                </c:pt>
                <c:pt idx="361">
                  <c:v>55.355999999999995</c:v>
                </c:pt>
                <c:pt idx="362">
                  <c:v>55.473000000000006</c:v>
                </c:pt>
                <c:pt idx="363">
                  <c:v>55.59</c:v>
                </c:pt>
                <c:pt idx="364">
                  <c:v>55.707000000000001</c:v>
                </c:pt>
                <c:pt idx="365">
                  <c:v>55.824000000000005</c:v>
                </c:pt>
                <c:pt idx="366">
                  <c:v>55.940999999999995</c:v>
                </c:pt>
                <c:pt idx="367">
                  <c:v>56.058000000000007</c:v>
                </c:pt>
                <c:pt idx="368">
                  <c:v>56.175000000000004</c:v>
                </c:pt>
                <c:pt idx="369">
                  <c:v>56.292000000000009</c:v>
                </c:pt>
                <c:pt idx="370">
                  <c:v>56.409000000000006</c:v>
                </c:pt>
                <c:pt idx="371">
                  <c:v>56.526000000000003</c:v>
                </c:pt>
                <c:pt idx="372">
                  <c:v>56.64</c:v>
                </c:pt>
                <c:pt idx="373">
                  <c:v>56.757000000000005</c:v>
                </c:pt>
                <c:pt idx="374">
                  <c:v>56.873999999999995</c:v>
                </c:pt>
                <c:pt idx="375">
                  <c:v>56.991</c:v>
                </c:pt>
                <c:pt idx="376">
                  <c:v>57.108000000000011</c:v>
                </c:pt>
                <c:pt idx="377">
                  <c:v>57.225000000000009</c:v>
                </c:pt>
                <c:pt idx="378">
                  <c:v>57.342000000000006</c:v>
                </c:pt>
                <c:pt idx="379">
                  <c:v>57.458999999999996</c:v>
                </c:pt>
                <c:pt idx="380">
                  <c:v>57.576000000000001</c:v>
                </c:pt>
                <c:pt idx="381">
                  <c:v>57.693000000000012</c:v>
                </c:pt>
                <c:pt idx="382">
                  <c:v>57.809999999999995</c:v>
                </c:pt>
                <c:pt idx="383">
                  <c:v>57.927</c:v>
                </c:pt>
                <c:pt idx="384">
                  <c:v>58.044000000000004</c:v>
                </c:pt>
                <c:pt idx="385">
                  <c:v>58.161000000000001</c:v>
                </c:pt>
                <c:pt idx="386">
                  <c:v>58.278000000000013</c:v>
                </c:pt>
                <c:pt idx="387">
                  <c:v>58.395000000000003</c:v>
                </c:pt>
                <c:pt idx="388">
                  <c:v>58.512</c:v>
                </c:pt>
                <c:pt idx="389">
                  <c:v>58.629000000000012</c:v>
                </c:pt>
                <c:pt idx="390">
                  <c:v>58.746000000000002</c:v>
                </c:pt>
                <c:pt idx="391">
                  <c:v>58.863000000000007</c:v>
                </c:pt>
                <c:pt idx="392">
                  <c:v>58.977000000000004</c:v>
                </c:pt>
                <c:pt idx="393">
                  <c:v>59.094000000000008</c:v>
                </c:pt>
                <c:pt idx="394">
                  <c:v>59.211000000000006</c:v>
                </c:pt>
                <c:pt idx="395">
                  <c:v>59.328000000000003</c:v>
                </c:pt>
                <c:pt idx="396">
                  <c:v>59.445</c:v>
                </c:pt>
                <c:pt idx="397">
                  <c:v>59.562000000000012</c:v>
                </c:pt>
                <c:pt idx="398">
                  <c:v>59.679000000000002</c:v>
                </c:pt>
                <c:pt idx="399">
                  <c:v>59.796000000000014</c:v>
                </c:pt>
                <c:pt idx="400">
                  <c:v>59.913000000000004</c:v>
                </c:pt>
                <c:pt idx="401">
                  <c:v>60.03</c:v>
                </c:pt>
                <c:pt idx="402">
                  <c:v>60.147000000000006</c:v>
                </c:pt>
                <c:pt idx="403">
                  <c:v>60.264000000000003</c:v>
                </c:pt>
                <c:pt idx="404">
                  <c:v>60.380999999999993</c:v>
                </c:pt>
                <c:pt idx="405">
                  <c:v>60.498000000000012</c:v>
                </c:pt>
                <c:pt idx="406">
                  <c:v>60.615000000000002</c:v>
                </c:pt>
                <c:pt idx="407">
                  <c:v>60.732000000000006</c:v>
                </c:pt>
                <c:pt idx="408">
                  <c:v>60.849000000000004</c:v>
                </c:pt>
                <c:pt idx="409">
                  <c:v>60.966000000000001</c:v>
                </c:pt>
                <c:pt idx="410">
                  <c:v>61.083000000000006</c:v>
                </c:pt>
                <c:pt idx="411">
                  <c:v>61.2</c:v>
                </c:pt>
                <c:pt idx="412">
                  <c:v>61.314</c:v>
                </c:pt>
                <c:pt idx="413">
                  <c:v>61.431000000000004</c:v>
                </c:pt>
                <c:pt idx="414">
                  <c:v>61.548000000000002</c:v>
                </c:pt>
                <c:pt idx="415">
                  <c:v>61.665000000000006</c:v>
                </c:pt>
                <c:pt idx="416">
                  <c:v>61.782000000000011</c:v>
                </c:pt>
                <c:pt idx="417">
                  <c:v>61.899000000000008</c:v>
                </c:pt>
                <c:pt idx="418">
                  <c:v>62.016000000000005</c:v>
                </c:pt>
                <c:pt idx="419">
                  <c:v>62.133000000000003</c:v>
                </c:pt>
                <c:pt idx="420">
                  <c:v>62.25</c:v>
                </c:pt>
                <c:pt idx="421">
                  <c:v>62.367000000000004</c:v>
                </c:pt>
                <c:pt idx="422">
                  <c:v>62.484000000000002</c:v>
                </c:pt>
                <c:pt idx="423">
                  <c:v>62.601000000000006</c:v>
                </c:pt>
                <c:pt idx="424">
                  <c:v>62.718000000000011</c:v>
                </c:pt>
                <c:pt idx="425">
                  <c:v>62.835000000000001</c:v>
                </c:pt>
                <c:pt idx="426">
                  <c:v>62.952000000000005</c:v>
                </c:pt>
                <c:pt idx="427">
                  <c:v>63.069000000000003</c:v>
                </c:pt>
                <c:pt idx="428">
                  <c:v>63.186</c:v>
                </c:pt>
                <c:pt idx="429">
                  <c:v>63.303000000000004</c:v>
                </c:pt>
                <c:pt idx="430">
                  <c:v>63.42</c:v>
                </c:pt>
                <c:pt idx="431">
                  <c:v>63.537000000000006</c:v>
                </c:pt>
                <c:pt idx="432">
                  <c:v>63.650999999999996</c:v>
                </c:pt>
                <c:pt idx="433">
                  <c:v>63.768000000000008</c:v>
                </c:pt>
                <c:pt idx="434">
                  <c:v>63.884999999999998</c:v>
                </c:pt>
                <c:pt idx="435">
                  <c:v>64.001999999999995</c:v>
                </c:pt>
                <c:pt idx="436">
                  <c:v>64.119</c:v>
                </c:pt>
                <c:pt idx="437">
                  <c:v>64.236000000000004</c:v>
                </c:pt>
                <c:pt idx="438">
                  <c:v>64.35299999999998</c:v>
                </c:pt>
                <c:pt idx="439">
                  <c:v>64.47</c:v>
                </c:pt>
                <c:pt idx="440">
                  <c:v>64.587000000000003</c:v>
                </c:pt>
                <c:pt idx="441">
                  <c:v>64.704000000000022</c:v>
                </c:pt>
                <c:pt idx="442">
                  <c:v>64.820999999999998</c:v>
                </c:pt>
                <c:pt idx="443">
                  <c:v>64.938000000000002</c:v>
                </c:pt>
                <c:pt idx="444">
                  <c:v>65.054999999999993</c:v>
                </c:pt>
                <c:pt idx="445">
                  <c:v>65.171999999999983</c:v>
                </c:pt>
                <c:pt idx="446">
                  <c:v>65.289000000000001</c:v>
                </c:pt>
                <c:pt idx="447">
                  <c:v>65.405999999999992</c:v>
                </c:pt>
                <c:pt idx="448">
                  <c:v>65.522999999999982</c:v>
                </c:pt>
                <c:pt idx="449">
                  <c:v>65.64</c:v>
                </c:pt>
                <c:pt idx="450">
                  <c:v>65.757000000000005</c:v>
                </c:pt>
                <c:pt idx="451">
                  <c:v>65.873999999999981</c:v>
                </c:pt>
                <c:pt idx="452">
                  <c:v>65.988</c:v>
                </c:pt>
                <c:pt idx="453">
                  <c:v>66.10499999999999</c:v>
                </c:pt>
                <c:pt idx="454">
                  <c:v>66.221999999999994</c:v>
                </c:pt>
                <c:pt idx="455">
                  <c:v>66.338999999999999</c:v>
                </c:pt>
                <c:pt idx="456">
                  <c:v>66.456000000000003</c:v>
                </c:pt>
                <c:pt idx="457">
                  <c:v>66.572999999999979</c:v>
                </c:pt>
                <c:pt idx="458">
                  <c:v>66.69</c:v>
                </c:pt>
                <c:pt idx="459">
                  <c:v>66.807000000000002</c:v>
                </c:pt>
                <c:pt idx="460">
                  <c:v>66.924000000000007</c:v>
                </c:pt>
                <c:pt idx="461">
                  <c:v>67.040999999999997</c:v>
                </c:pt>
                <c:pt idx="462">
                  <c:v>67.157999999999987</c:v>
                </c:pt>
                <c:pt idx="463">
                  <c:v>67.274999999999991</c:v>
                </c:pt>
                <c:pt idx="464">
                  <c:v>67.391999999999996</c:v>
                </c:pt>
                <c:pt idx="465">
                  <c:v>67.509</c:v>
                </c:pt>
                <c:pt idx="466">
                  <c:v>67.625999999999976</c:v>
                </c:pt>
                <c:pt idx="467">
                  <c:v>67.742999999999995</c:v>
                </c:pt>
                <c:pt idx="468">
                  <c:v>67.86</c:v>
                </c:pt>
                <c:pt idx="469">
                  <c:v>67.977000000000004</c:v>
                </c:pt>
                <c:pt idx="470">
                  <c:v>68.094000000000023</c:v>
                </c:pt>
                <c:pt idx="471">
                  <c:v>68.211000000000013</c:v>
                </c:pt>
                <c:pt idx="472">
                  <c:v>68.324999999999989</c:v>
                </c:pt>
                <c:pt idx="473">
                  <c:v>68.442000000000007</c:v>
                </c:pt>
                <c:pt idx="474">
                  <c:v>68.558999999999983</c:v>
                </c:pt>
                <c:pt idx="475">
                  <c:v>68.675999999999988</c:v>
                </c:pt>
                <c:pt idx="476">
                  <c:v>68.793000000000006</c:v>
                </c:pt>
                <c:pt idx="477">
                  <c:v>68.910000000000011</c:v>
                </c:pt>
                <c:pt idx="478">
                  <c:v>69.027000000000001</c:v>
                </c:pt>
                <c:pt idx="479">
                  <c:v>69.144000000000005</c:v>
                </c:pt>
                <c:pt idx="480">
                  <c:v>69.260999999999996</c:v>
                </c:pt>
                <c:pt idx="481">
                  <c:v>69.377999999999986</c:v>
                </c:pt>
                <c:pt idx="482">
                  <c:v>69.495000000000005</c:v>
                </c:pt>
                <c:pt idx="483">
                  <c:v>69.611999999999995</c:v>
                </c:pt>
                <c:pt idx="484">
                  <c:v>69.728999999999999</c:v>
                </c:pt>
                <c:pt idx="485">
                  <c:v>69.846000000000004</c:v>
                </c:pt>
                <c:pt idx="486">
                  <c:v>69.962999999999994</c:v>
                </c:pt>
                <c:pt idx="487">
                  <c:v>70.08</c:v>
                </c:pt>
                <c:pt idx="488">
                  <c:v>70.197000000000003</c:v>
                </c:pt>
                <c:pt idx="489">
                  <c:v>70.314000000000007</c:v>
                </c:pt>
                <c:pt idx="490">
                  <c:v>70.430999999999997</c:v>
                </c:pt>
                <c:pt idx="491">
                  <c:v>70.548000000000002</c:v>
                </c:pt>
                <c:pt idx="492">
                  <c:v>70.661999999999992</c:v>
                </c:pt>
                <c:pt idx="493">
                  <c:v>70.778999999999982</c:v>
                </c:pt>
                <c:pt idx="494">
                  <c:v>70.896000000000001</c:v>
                </c:pt>
                <c:pt idx="495">
                  <c:v>71.013000000000005</c:v>
                </c:pt>
                <c:pt idx="496">
                  <c:v>71.13</c:v>
                </c:pt>
                <c:pt idx="497">
                  <c:v>71.247000000000014</c:v>
                </c:pt>
                <c:pt idx="498">
                  <c:v>71.364000000000004</c:v>
                </c:pt>
                <c:pt idx="499">
                  <c:v>71.480999999999995</c:v>
                </c:pt>
                <c:pt idx="500">
                  <c:v>71.598000000000013</c:v>
                </c:pt>
                <c:pt idx="501">
                  <c:v>71.715000000000003</c:v>
                </c:pt>
                <c:pt idx="502">
                  <c:v>71.831999999999994</c:v>
                </c:pt>
                <c:pt idx="503">
                  <c:v>71.949000000000012</c:v>
                </c:pt>
                <c:pt idx="504">
                  <c:v>72.066000000000003</c:v>
                </c:pt>
                <c:pt idx="505">
                  <c:v>72.182999999999993</c:v>
                </c:pt>
                <c:pt idx="506">
                  <c:v>72.3</c:v>
                </c:pt>
                <c:pt idx="507">
                  <c:v>72.417000000000016</c:v>
                </c:pt>
                <c:pt idx="508">
                  <c:v>72.534000000000006</c:v>
                </c:pt>
                <c:pt idx="509">
                  <c:v>72.650999999999982</c:v>
                </c:pt>
                <c:pt idx="510">
                  <c:v>72.768000000000001</c:v>
                </c:pt>
                <c:pt idx="511">
                  <c:v>72.884999999999991</c:v>
                </c:pt>
                <c:pt idx="512">
                  <c:v>72.998999999999995</c:v>
                </c:pt>
                <c:pt idx="513">
                  <c:v>73.116</c:v>
                </c:pt>
                <c:pt idx="514">
                  <c:v>73.233000000000004</c:v>
                </c:pt>
                <c:pt idx="515">
                  <c:v>73.349999999999994</c:v>
                </c:pt>
                <c:pt idx="516">
                  <c:v>73.467000000000013</c:v>
                </c:pt>
                <c:pt idx="517">
                  <c:v>73.584000000000003</c:v>
                </c:pt>
                <c:pt idx="518">
                  <c:v>73.700999999999993</c:v>
                </c:pt>
                <c:pt idx="519">
                  <c:v>73.818000000000012</c:v>
                </c:pt>
                <c:pt idx="520">
                  <c:v>73.935000000000002</c:v>
                </c:pt>
                <c:pt idx="521">
                  <c:v>74.051999999999992</c:v>
                </c:pt>
                <c:pt idx="522">
                  <c:v>74.168999999999983</c:v>
                </c:pt>
                <c:pt idx="523">
                  <c:v>74.286000000000001</c:v>
                </c:pt>
                <c:pt idx="524">
                  <c:v>74.403000000000006</c:v>
                </c:pt>
                <c:pt idx="525">
                  <c:v>74.52</c:v>
                </c:pt>
                <c:pt idx="526">
                  <c:v>74.637</c:v>
                </c:pt>
                <c:pt idx="527">
                  <c:v>74.754000000000005</c:v>
                </c:pt>
                <c:pt idx="528">
                  <c:v>74.871000000000009</c:v>
                </c:pt>
                <c:pt idx="529">
                  <c:v>74.988</c:v>
                </c:pt>
                <c:pt idx="530">
                  <c:v>75.10499999999999</c:v>
                </c:pt>
                <c:pt idx="531">
                  <c:v>75.221999999999994</c:v>
                </c:pt>
                <c:pt idx="532">
                  <c:v>75.335999999999999</c:v>
                </c:pt>
                <c:pt idx="533">
                  <c:v>75.453000000000003</c:v>
                </c:pt>
                <c:pt idx="534">
                  <c:v>75.569999999999993</c:v>
                </c:pt>
                <c:pt idx="535">
                  <c:v>75.686999999999998</c:v>
                </c:pt>
                <c:pt idx="536">
                  <c:v>75.804000000000002</c:v>
                </c:pt>
                <c:pt idx="537">
                  <c:v>75.921000000000006</c:v>
                </c:pt>
                <c:pt idx="538">
                  <c:v>76.037999999999997</c:v>
                </c:pt>
                <c:pt idx="539">
                  <c:v>76.154999999999987</c:v>
                </c:pt>
                <c:pt idx="540">
                  <c:v>76.271999999999991</c:v>
                </c:pt>
                <c:pt idx="541">
                  <c:v>76.388999999999982</c:v>
                </c:pt>
                <c:pt idx="542">
                  <c:v>76.506</c:v>
                </c:pt>
                <c:pt idx="543">
                  <c:v>76.622999999999976</c:v>
                </c:pt>
                <c:pt idx="544">
                  <c:v>76.739999999999995</c:v>
                </c:pt>
                <c:pt idx="545">
                  <c:v>76.856999999999999</c:v>
                </c:pt>
                <c:pt idx="546">
                  <c:v>76.974000000000004</c:v>
                </c:pt>
                <c:pt idx="547">
                  <c:v>77.091000000000022</c:v>
                </c:pt>
                <c:pt idx="548">
                  <c:v>77.208000000000013</c:v>
                </c:pt>
                <c:pt idx="549">
                  <c:v>77.324999999999989</c:v>
                </c:pt>
                <c:pt idx="550">
                  <c:v>77.442000000000007</c:v>
                </c:pt>
                <c:pt idx="551">
                  <c:v>77.559000000000012</c:v>
                </c:pt>
                <c:pt idx="552">
                  <c:v>77.672999999999988</c:v>
                </c:pt>
                <c:pt idx="553">
                  <c:v>77.790000000000006</c:v>
                </c:pt>
                <c:pt idx="554">
                  <c:v>77.906999999999996</c:v>
                </c:pt>
                <c:pt idx="555">
                  <c:v>78.024000000000001</c:v>
                </c:pt>
                <c:pt idx="556">
                  <c:v>78.141000000000005</c:v>
                </c:pt>
                <c:pt idx="557">
                  <c:v>78.257999999999996</c:v>
                </c:pt>
                <c:pt idx="558">
                  <c:v>78.374999999999986</c:v>
                </c:pt>
                <c:pt idx="559">
                  <c:v>78.492000000000004</c:v>
                </c:pt>
                <c:pt idx="560">
                  <c:v>78.609000000000009</c:v>
                </c:pt>
                <c:pt idx="561">
                  <c:v>78.726000000000013</c:v>
                </c:pt>
                <c:pt idx="562">
                  <c:v>78.843000000000004</c:v>
                </c:pt>
                <c:pt idx="563">
                  <c:v>78.959999999999994</c:v>
                </c:pt>
                <c:pt idx="564">
                  <c:v>79.076999999999998</c:v>
                </c:pt>
                <c:pt idx="565">
                  <c:v>79.194000000000003</c:v>
                </c:pt>
                <c:pt idx="566">
                  <c:v>79.311000000000007</c:v>
                </c:pt>
                <c:pt idx="567">
                  <c:v>79.427999999999997</c:v>
                </c:pt>
                <c:pt idx="568">
                  <c:v>79.545000000000002</c:v>
                </c:pt>
                <c:pt idx="569">
                  <c:v>79.661999999999992</c:v>
                </c:pt>
                <c:pt idx="570">
                  <c:v>79.779000000000011</c:v>
                </c:pt>
                <c:pt idx="571">
                  <c:v>79.896000000000001</c:v>
                </c:pt>
                <c:pt idx="572">
                  <c:v>80.010000000000005</c:v>
                </c:pt>
                <c:pt idx="573">
                  <c:v>80.126999999999981</c:v>
                </c:pt>
                <c:pt idx="574">
                  <c:v>80.244000000000014</c:v>
                </c:pt>
                <c:pt idx="575">
                  <c:v>80.361000000000004</c:v>
                </c:pt>
                <c:pt idx="576">
                  <c:v>80.477999999999994</c:v>
                </c:pt>
                <c:pt idx="577">
                  <c:v>80.595000000000013</c:v>
                </c:pt>
                <c:pt idx="578">
                  <c:v>80.712000000000003</c:v>
                </c:pt>
                <c:pt idx="579">
                  <c:v>80.829000000000008</c:v>
                </c:pt>
                <c:pt idx="580">
                  <c:v>80.946000000000026</c:v>
                </c:pt>
                <c:pt idx="581">
                  <c:v>81.063000000000002</c:v>
                </c:pt>
                <c:pt idx="582">
                  <c:v>81.179999999999993</c:v>
                </c:pt>
                <c:pt idx="583">
                  <c:v>81.296999999999997</c:v>
                </c:pt>
                <c:pt idx="584">
                  <c:v>81.414000000000016</c:v>
                </c:pt>
                <c:pt idx="585">
                  <c:v>81.531000000000006</c:v>
                </c:pt>
                <c:pt idx="586">
                  <c:v>81.647999999999996</c:v>
                </c:pt>
                <c:pt idx="587">
                  <c:v>81.765000000000001</c:v>
                </c:pt>
                <c:pt idx="588">
                  <c:v>81.881999999999991</c:v>
                </c:pt>
                <c:pt idx="589">
                  <c:v>81.999000000000024</c:v>
                </c:pt>
                <c:pt idx="590">
                  <c:v>82.116000000000014</c:v>
                </c:pt>
                <c:pt idx="591">
                  <c:v>82.23299999999999</c:v>
                </c:pt>
                <c:pt idx="592">
                  <c:v>82.347000000000023</c:v>
                </c:pt>
                <c:pt idx="593">
                  <c:v>82.464000000000013</c:v>
                </c:pt>
                <c:pt idx="594">
                  <c:v>82.581000000000003</c:v>
                </c:pt>
                <c:pt idx="595">
                  <c:v>82.697999999999993</c:v>
                </c:pt>
                <c:pt idx="596">
                  <c:v>82.815000000000012</c:v>
                </c:pt>
                <c:pt idx="597">
                  <c:v>82.932000000000002</c:v>
                </c:pt>
                <c:pt idx="598">
                  <c:v>83.049000000000007</c:v>
                </c:pt>
                <c:pt idx="599">
                  <c:v>83.166000000000011</c:v>
                </c:pt>
                <c:pt idx="600">
                  <c:v>83.283000000000001</c:v>
                </c:pt>
                <c:pt idx="601">
                  <c:v>83.4</c:v>
                </c:pt>
                <c:pt idx="602">
                  <c:v>83.516999999999996</c:v>
                </c:pt>
                <c:pt idx="603">
                  <c:v>83.634</c:v>
                </c:pt>
                <c:pt idx="604">
                  <c:v>83.751000000000005</c:v>
                </c:pt>
                <c:pt idx="605">
                  <c:v>83.867999999999995</c:v>
                </c:pt>
                <c:pt idx="606">
                  <c:v>83.985000000000014</c:v>
                </c:pt>
                <c:pt idx="607">
                  <c:v>84.10199999999999</c:v>
                </c:pt>
                <c:pt idx="608">
                  <c:v>84.219000000000023</c:v>
                </c:pt>
                <c:pt idx="609">
                  <c:v>84.336000000000013</c:v>
                </c:pt>
                <c:pt idx="610">
                  <c:v>84.453000000000003</c:v>
                </c:pt>
                <c:pt idx="611">
                  <c:v>84.57</c:v>
                </c:pt>
                <c:pt idx="612">
                  <c:v>84.801000000000002</c:v>
                </c:pt>
                <c:pt idx="613">
                  <c:v>84.918000000000006</c:v>
                </c:pt>
                <c:pt idx="614">
                  <c:v>85.034999999999997</c:v>
                </c:pt>
                <c:pt idx="615">
                  <c:v>85.151999999999987</c:v>
                </c:pt>
                <c:pt idx="616">
                  <c:v>85.269000000000005</c:v>
                </c:pt>
                <c:pt idx="617">
                  <c:v>85.38600000000001</c:v>
                </c:pt>
                <c:pt idx="618">
                  <c:v>85.503</c:v>
                </c:pt>
                <c:pt idx="619">
                  <c:v>85.61999999999999</c:v>
                </c:pt>
                <c:pt idx="620">
                  <c:v>85.736999999999995</c:v>
                </c:pt>
                <c:pt idx="621">
                  <c:v>85.971000000000004</c:v>
                </c:pt>
                <c:pt idx="622">
                  <c:v>86.087999999999994</c:v>
                </c:pt>
                <c:pt idx="623">
                  <c:v>86.439000000000007</c:v>
                </c:pt>
                <c:pt idx="624">
                  <c:v>86.556000000000012</c:v>
                </c:pt>
                <c:pt idx="625">
                  <c:v>86.672999999999988</c:v>
                </c:pt>
                <c:pt idx="626">
                  <c:v>86.79</c:v>
                </c:pt>
                <c:pt idx="627">
                  <c:v>86.906999999999996</c:v>
                </c:pt>
                <c:pt idx="628">
                  <c:v>87.137999999999991</c:v>
                </c:pt>
                <c:pt idx="629">
                  <c:v>87.254999999999995</c:v>
                </c:pt>
                <c:pt idx="630">
                  <c:v>87.371999999999986</c:v>
                </c:pt>
                <c:pt idx="631">
                  <c:v>87.606000000000009</c:v>
                </c:pt>
                <c:pt idx="632">
                  <c:v>87.84</c:v>
                </c:pt>
                <c:pt idx="633">
                  <c:v>87.957000000000022</c:v>
                </c:pt>
                <c:pt idx="634">
                  <c:v>88.073999999999998</c:v>
                </c:pt>
                <c:pt idx="635">
                  <c:v>88.191000000000003</c:v>
                </c:pt>
              </c:numCache>
            </c:numRef>
          </c:xVal>
          <c:yVal>
            <c:numRef>
              <c:f>Temperatur!$A$2:$A$637</c:f>
              <c:numCache>
                <c:formatCode>General</c:formatCode>
                <c:ptCount val="636"/>
                <c:pt idx="0">
                  <c:v>-5.0999999999999996</c:v>
                </c:pt>
                <c:pt idx="1">
                  <c:v>-9.1</c:v>
                </c:pt>
                <c:pt idx="2">
                  <c:v>-13</c:v>
                </c:pt>
                <c:pt idx="3">
                  <c:v>-16.899999999999999</c:v>
                </c:pt>
                <c:pt idx="4">
                  <c:v>-20.8</c:v>
                </c:pt>
                <c:pt idx="5">
                  <c:v>-24.7</c:v>
                </c:pt>
                <c:pt idx="6">
                  <c:v>-28.6</c:v>
                </c:pt>
                <c:pt idx="7">
                  <c:v>-32.5</c:v>
                </c:pt>
                <c:pt idx="8">
                  <c:v>-36.4</c:v>
                </c:pt>
                <c:pt idx="9">
                  <c:v>-40.300000000000011</c:v>
                </c:pt>
                <c:pt idx="10">
                  <c:v>-44.2</c:v>
                </c:pt>
                <c:pt idx="11">
                  <c:v>-48.1</c:v>
                </c:pt>
                <c:pt idx="12">
                  <c:v>-51.9</c:v>
                </c:pt>
                <c:pt idx="13">
                  <c:v>-55.8</c:v>
                </c:pt>
                <c:pt idx="14">
                  <c:v>-59.7</c:v>
                </c:pt>
                <c:pt idx="15">
                  <c:v>-63.6</c:v>
                </c:pt>
                <c:pt idx="16">
                  <c:v>-67.5</c:v>
                </c:pt>
                <c:pt idx="17">
                  <c:v>-71.400000000000006</c:v>
                </c:pt>
                <c:pt idx="18">
                  <c:v>-75.3</c:v>
                </c:pt>
                <c:pt idx="19">
                  <c:v>-79.2</c:v>
                </c:pt>
                <c:pt idx="20">
                  <c:v>-83.1</c:v>
                </c:pt>
                <c:pt idx="21">
                  <c:v>-87</c:v>
                </c:pt>
                <c:pt idx="22">
                  <c:v>-90.9</c:v>
                </c:pt>
                <c:pt idx="23">
                  <c:v>-94.8</c:v>
                </c:pt>
                <c:pt idx="24">
                  <c:v>-98.7</c:v>
                </c:pt>
                <c:pt idx="25">
                  <c:v>-102.6</c:v>
                </c:pt>
                <c:pt idx="26">
                  <c:v>-106.5</c:v>
                </c:pt>
                <c:pt idx="27">
                  <c:v>-110.4</c:v>
                </c:pt>
                <c:pt idx="28">
                  <c:v>-114.3</c:v>
                </c:pt>
                <c:pt idx="29">
                  <c:v>-118.2</c:v>
                </c:pt>
                <c:pt idx="30">
                  <c:v>-122.1</c:v>
                </c:pt>
                <c:pt idx="31">
                  <c:v>-126</c:v>
                </c:pt>
                <c:pt idx="32">
                  <c:v>-129.80000000000001</c:v>
                </c:pt>
                <c:pt idx="33">
                  <c:v>-133.69999999999999</c:v>
                </c:pt>
                <c:pt idx="34">
                  <c:v>-137.6</c:v>
                </c:pt>
                <c:pt idx="35">
                  <c:v>-141.5</c:v>
                </c:pt>
                <c:pt idx="36">
                  <c:v>-145.4</c:v>
                </c:pt>
                <c:pt idx="37">
                  <c:v>-149.30000000000001</c:v>
                </c:pt>
                <c:pt idx="38">
                  <c:v>-153.19999999999999</c:v>
                </c:pt>
                <c:pt idx="39">
                  <c:v>-157.1</c:v>
                </c:pt>
                <c:pt idx="40">
                  <c:v>-161</c:v>
                </c:pt>
                <c:pt idx="41">
                  <c:v>-164.9</c:v>
                </c:pt>
                <c:pt idx="42">
                  <c:v>-168.8</c:v>
                </c:pt>
                <c:pt idx="43">
                  <c:v>-172.7</c:v>
                </c:pt>
                <c:pt idx="44">
                  <c:v>-176.6</c:v>
                </c:pt>
                <c:pt idx="45">
                  <c:v>-180.5</c:v>
                </c:pt>
                <c:pt idx="46">
                  <c:v>-184.4</c:v>
                </c:pt>
                <c:pt idx="47">
                  <c:v>-188.3</c:v>
                </c:pt>
                <c:pt idx="48">
                  <c:v>-192.2</c:v>
                </c:pt>
                <c:pt idx="49">
                  <c:v>-196.1</c:v>
                </c:pt>
                <c:pt idx="50">
                  <c:v>-200</c:v>
                </c:pt>
                <c:pt idx="51">
                  <c:v>-203.9</c:v>
                </c:pt>
                <c:pt idx="52">
                  <c:v>-207.7</c:v>
                </c:pt>
                <c:pt idx="53">
                  <c:v>-211.6</c:v>
                </c:pt>
                <c:pt idx="54">
                  <c:v>-215.5</c:v>
                </c:pt>
                <c:pt idx="55">
                  <c:v>-219.4</c:v>
                </c:pt>
                <c:pt idx="56">
                  <c:v>-223.3</c:v>
                </c:pt>
                <c:pt idx="57">
                  <c:v>-227.2</c:v>
                </c:pt>
                <c:pt idx="58">
                  <c:v>-231.1</c:v>
                </c:pt>
                <c:pt idx="59">
                  <c:v>-235</c:v>
                </c:pt>
                <c:pt idx="60">
                  <c:v>-238.9</c:v>
                </c:pt>
                <c:pt idx="61">
                  <c:v>-242.8</c:v>
                </c:pt>
                <c:pt idx="62">
                  <c:v>-246.7</c:v>
                </c:pt>
                <c:pt idx="63">
                  <c:v>-250.6</c:v>
                </c:pt>
                <c:pt idx="64">
                  <c:v>-254.5</c:v>
                </c:pt>
                <c:pt idx="65">
                  <c:v>-258.39999999999992</c:v>
                </c:pt>
                <c:pt idx="66">
                  <c:v>-262.3</c:v>
                </c:pt>
                <c:pt idx="67">
                  <c:v>-266.2</c:v>
                </c:pt>
                <c:pt idx="68">
                  <c:v>-270.10000000000002</c:v>
                </c:pt>
                <c:pt idx="69">
                  <c:v>-274</c:v>
                </c:pt>
                <c:pt idx="70">
                  <c:v>-277.89999999999992</c:v>
                </c:pt>
                <c:pt idx="71">
                  <c:v>-281.8</c:v>
                </c:pt>
                <c:pt idx="72">
                  <c:v>-285.60000000000002</c:v>
                </c:pt>
                <c:pt idx="73">
                  <c:v>-289.5</c:v>
                </c:pt>
                <c:pt idx="74">
                  <c:v>-293.39999999999992</c:v>
                </c:pt>
                <c:pt idx="75">
                  <c:v>-297.3</c:v>
                </c:pt>
                <c:pt idx="76">
                  <c:v>-301.2</c:v>
                </c:pt>
                <c:pt idx="77">
                  <c:v>-305.10000000000002</c:v>
                </c:pt>
                <c:pt idx="78">
                  <c:v>-309</c:v>
                </c:pt>
                <c:pt idx="79">
                  <c:v>-312.89999999999992</c:v>
                </c:pt>
                <c:pt idx="80">
                  <c:v>-316.8</c:v>
                </c:pt>
                <c:pt idx="81">
                  <c:v>-320.7</c:v>
                </c:pt>
                <c:pt idx="82">
                  <c:v>-324.60000000000002</c:v>
                </c:pt>
                <c:pt idx="83">
                  <c:v>-328.5</c:v>
                </c:pt>
                <c:pt idx="84">
                  <c:v>-332.4</c:v>
                </c:pt>
                <c:pt idx="85">
                  <c:v>-336.3</c:v>
                </c:pt>
                <c:pt idx="86">
                  <c:v>-340.2</c:v>
                </c:pt>
                <c:pt idx="87">
                  <c:v>-344.1</c:v>
                </c:pt>
                <c:pt idx="88">
                  <c:v>-348</c:v>
                </c:pt>
                <c:pt idx="89">
                  <c:v>-351.9</c:v>
                </c:pt>
                <c:pt idx="90">
                  <c:v>-355.8</c:v>
                </c:pt>
                <c:pt idx="91">
                  <c:v>-359.7</c:v>
                </c:pt>
                <c:pt idx="92">
                  <c:v>-363.5</c:v>
                </c:pt>
                <c:pt idx="93">
                  <c:v>-367.4</c:v>
                </c:pt>
                <c:pt idx="94">
                  <c:v>-371.3</c:v>
                </c:pt>
                <c:pt idx="95">
                  <c:v>-375.2</c:v>
                </c:pt>
                <c:pt idx="96">
                  <c:v>-379.1</c:v>
                </c:pt>
                <c:pt idx="97">
                  <c:v>-383</c:v>
                </c:pt>
                <c:pt idx="98">
                  <c:v>-386.9</c:v>
                </c:pt>
                <c:pt idx="99">
                  <c:v>-390.8</c:v>
                </c:pt>
                <c:pt idx="100">
                  <c:v>-394.7</c:v>
                </c:pt>
                <c:pt idx="101">
                  <c:v>-398.6</c:v>
                </c:pt>
                <c:pt idx="102">
                  <c:v>-402.5</c:v>
                </c:pt>
                <c:pt idx="103">
                  <c:v>-406.4</c:v>
                </c:pt>
                <c:pt idx="104">
                  <c:v>-410.3</c:v>
                </c:pt>
                <c:pt idx="105">
                  <c:v>-414.2</c:v>
                </c:pt>
                <c:pt idx="106">
                  <c:v>-418.1</c:v>
                </c:pt>
                <c:pt idx="107">
                  <c:v>-422</c:v>
                </c:pt>
                <c:pt idx="108">
                  <c:v>-425.9</c:v>
                </c:pt>
                <c:pt idx="109">
                  <c:v>-429.8</c:v>
                </c:pt>
                <c:pt idx="110">
                  <c:v>-433.7</c:v>
                </c:pt>
                <c:pt idx="111">
                  <c:v>-437.6</c:v>
                </c:pt>
                <c:pt idx="112">
                  <c:v>-441.4</c:v>
                </c:pt>
                <c:pt idx="113">
                  <c:v>-445.3</c:v>
                </c:pt>
                <c:pt idx="114">
                  <c:v>-449.2</c:v>
                </c:pt>
                <c:pt idx="115">
                  <c:v>-453.1</c:v>
                </c:pt>
                <c:pt idx="116">
                  <c:v>-457</c:v>
                </c:pt>
                <c:pt idx="117">
                  <c:v>-460.9</c:v>
                </c:pt>
                <c:pt idx="118">
                  <c:v>-464.8</c:v>
                </c:pt>
                <c:pt idx="119">
                  <c:v>-468.7</c:v>
                </c:pt>
                <c:pt idx="120">
                  <c:v>-472.6</c:v>
                </c:pt>
                <c:pt idx="121">
                  <c:v>-476.5</c:v>
                </c:pt>
                <c:pt idx="122">
                  <c:v>-480.4</c:v>
                </c:pt>
                <c:pt idx="123">
                  <c:v>-484.3</c:v>
                </c:pt>
                <c:pt idx="124">
                  <c:v>-488.2</c:v>
                </c:pt>
                <c:pt idx="125">
                  <c:v>-492.1</c:v>
                </c:pt>
                <c:pt idx="126">
                  <c:v>-496</c:v>
                </c:pt>
                <c:pt idx="127">
                  <c:v>-499.9</c:v>
                </c:pt>
                <c:pt idx="128">
                  <c:v>-503.8</c:v>
                </c:pt>
                <c:pt idx="129">
                  <c:v>-507.7</c:v>
                </c:pt>
                <c:pt idx="130">
                  <c:v>-511.6</c:v>
                </c:pt>
                <c:pt idx="131">
                  <c:v>-515.5</c:v>
                </c:pt>
                <c:pt idx="132">
                  <c:v>-519.29999999999995</c:v>
                </c:pt>
                <c:pt idx="133">
                  <c:v>-523.20000000000005</c:v>
                </c:pt>
                <c:pt idx="134">
                  <c:v>-527.1</c:v>
                </c:pt>
                <c:pt idx="135">
                  <c:v>-531</c:v>
                </c:pt>
                <c:pt idx="136">
                  <c:v>-534.9</c:v>
                </c:pt>
                <c:pt idx="137">
                  <c:v>-538.79999999999995</c:v>
                </c:pt>
                <c:pt idx="138">
                  <c:v>-542.70000000000005</c:v>
                </c:pt>
                <c:pt idx="139">
                  <c:v>-546.6</c:v>
                </c:pt>
                <c:pt idx="140">
                  <c:v>-550.5</c:v>
                </c:pt>
                <c:pt idx="141">
                  <c:v>-554.4</c:v>
                </c:pt>
                <c:pt idx="142">
                  <c:v>-558.29999999999995</c:v>
                </c:pt>
                <c:pt idx="143">
                  <c:v>-562.20000000000005</c:v>
                </c:pt>
                <c:pt idx="144">
                  <c:v>-566.1</c:v>
                </c:pt>
                <c:pt idx="145">
                  <c:v>-570</c:v>
                </c:pt>
                <c:pt idx="146">
                  <c:v>-573.9</c:v>
                </c:pt>
                <c:pt idx="147">
                  <c:v>-577.79999999999995</c:v>
                </c:pt>
                <c:pt idx="148">
                  <c:v>-581.70000000000005</c:v>
                </c:pt>
                <c:pt idx="149">
                  <c:v>-585.6</c:v>
                </c:pt>
                <c:pt idx="150">
                  <c:v>-589.5</c:v>
                </c:pt>
                <c:pt idx="151">
                  <c:v>-593.4</c:v>
                </c:pt>
                <c:pt idx="152">
                  <c:v>-597.20000000000005</c:v>
                </c:pt>
                <c:pt idx="153">
                  <c:v>-601.1</c:v>
                </c:pt>
                <c:pt idx="154">
                  <c:v>-605</c:v>
                </c:pt>
                <c:pt idx="155">
                  <c:v>-608.9</c:v>
                </c:pt>
                <c:pt idx="156">
                  <c:v>-612.79999999999995</c:v>
                </c:pt>
                <c:pt idx="157">
                  <c:v>-616.70000000000005</c:v>
                </c:pt>
                <c:pt idx="158">
                  <c:v>-620.6</c:v>
                </c:pt>
                <c:pt idx="159">
                  <c:v>-624.5</c:v>
                </c:pt>
                <c:pt idx="160">
                  <c:v>-628.4</c:v>
                </c:pt>
                <c:pt idx="161">
                  <c:v>-632.29999999999995</c:v>
                </c:pt>
                <c:pt idx="162">
                  <c:v>-636.20000000000005</c:v>
                </c:pt>
                <c:pt idx="163">
                  <c:v>-640.1</c:v>
                </c:pt>
                <c:pt idx="164">
                  <c:v>-644</c:v>
                </c:pt>
                <c:pt idx="165">
                  <c:v>-647.9</c:v>
                </c:pt>
                <c:pt idx="166">
                  <c:v>-651.79999999999995</c:v>
                </c:pt>
                <c:pt idx="167">
                  <c:v>-655.7</c:v>
                </c:pt>
                <c:pt idx="168">
                  <c:v>-659.6</c:v>
                </c:pt>
                <c:pt idx="169">
                  <c:v>-663.5</c:v>
                </c:pt>
                <c:pt idx="170">
                  <c:v>-667.4</c:v>
                </c:pt>
                <c:pt idx="171">
                  <c:v>-671.3</c:v>
                </c:pt>
                <c:pt idx="172">
                  <c:v>-675.1</c:v>
                </c:pt>
                <c:pt idx="173">
                  <c:v>-679</c:v>
                </c:pt>
                <c:pt idx="174">
                  <c:v>-682.9</c:v>
                </c:pt>
                <c:pt idx="175">
                  <c:v>-686.8</c:v>
                </c:pt>
                <c:pt idx="176">
                  <c:v>-690.7</c:v>
                </c:pt>
                <c:pt idx="177">
                  <c:v>-694.6</c:v>
                </c:pt>
                <c:pt idx="178">
                  <c:v>-698.5</c:v>
                </c:pt>
                <c:pt idx="179">
                  <c:v>-702.4</c:v>
                </c:pt>
                <c:pt idx="180">
                  <c:v>-706.3</c:v>
                </c:pt>
                <c:pt idx="181">
                  <c:v>-710.2</c:v>
                </c:pt>
                <c:pt idx="182">
                  <c:v>-714.1</c:v>
                </c:pt>
                <c:pt idx="183">
                  <c:v>-718</c:v>
                </c:pt>
                <c:pt idx="184">
                  <c:v>-721.9</c:v>
                </c:pt>
                <c:pt idx="185">
                  <c:v>-725.8</c:v>
                </c:pt>
                <c:pt idx="186">
                  <c:v>-729.7</c:v>
                </c:pt>
                <c:pt idx="187">
                  <c:v>-733.6</c:v>
                </c:pt>
                <c:pt idx="188">
                  <c:v>-737.5</c:v>
                </c:pt>
                <c:pt idx="189">
                  <c:v>-741.4</c:v>
                </c:pt>
                <c:pt idx="190">
                  <c:v>-745.3</c:v>
                </c:pt>
                <c:pt idx="191">
                  <c:v>-749.2</c:v>
                </c:pt>
                <c:pt idx="192">
                  <c:v>-753</c:v>
                </c:pt>
                <c:pt idx="193">
                  <c:v>-756.9</c:v>
                </c:pt>
                <c:pt idx="194">
                  <c:v>-760.8</c:v>
                </c:pt>
                <c:pt idx="195">
                  <c:v>-764.7</c:v>
                </c:pt>
                <c:pt idx="196">
                  <c:v>-768.6</c:v>
                </c:pt>
                <c:pt idx="197">
                  <c:v>-772.5</c:v>
                </c:pt>
                <c:pt idx="198">
                  <c:v>-776.4</c:v>
                </c:pt>
                <c:pt idx="199">
                  <c:v>-780.3</c:v>
                </c:pt>
                <c:pt idx="200">
                  <c:v>-784.2</c:v>
                </c:pt>
                <c:pt idx="201">
                  <c:v>-788.1</c:v>
                </c:pt>
                <c:pt idx="202">
                  <c:v>-792</c:v>
                </c:pt>
                <c:pt idx="203">
                  <c:v>-795.9</c:v>
                </c:pt>
                <c:pt idx="204">
                  <c:v>-799.8</c:v>
                </c:pt>
                <c:pt idx="205">
                  <c:v>-803.7</c:v>
                </c:pt>
                <c:pt idx="206">
                  <c:v>-807.6</c:v>
                </c:pt>
                <c:pt idx="207">
                  <c:v>-811.5</c:v>
                </c:pt>
                <c:pt idx="208">
                  <c:v>-815.4</c:v>
                </c:pt>
                <c:pt idx="209">
                  <c:v>-819.3</c:v>
                </c:pt>
                <c:pt idx="210">
                  <c:v>-823.2</c:v>
                </c:pt>
                <c:pt idx="211">
                  <c:v>-827.1</c:v>
                </c:pt>
                <c:pt idx="212">
                  <c:v>-830.9</c:v>
                </c:pt>
                <c:pt idx="213">
                  <c:v>-834.8</c:v>
                </c:pt>
                <c:pt idx="214">
                  <c:v>-838.7</c:v>
                </c:pt>
                <c:pt idx="215">
                  <c:v>-842.6</c:v>
                </c:pt>
                <c:pt idx="216">
                  <c:v>-846.5</c:v>
                </c:pt>
                <c:pt idx="217">
                  <c:v>-850.4</c:v>
                </c:pt>
                <c:pt idx="218">
                  <c:v>-854.3</c:v>
                </c:pt>
                <c:pt idx="219">
                  <c:v>-858.2</c:v>
                </c:pt>
                <c:pt idx="220">
                  <c:v>-862.1</c:v>
                </c:pt>
                <c:pt idx="221">
                  <c:v>-866</c:v>
                </c:pt>
                <c:pt idx="222">
                  <c:v>-869.9</c:v>
                </c:pt>
                <c:pt idx="223">
                  <c:v>-873.8</c:v>
                </c:pt>
                <c:pt idx="224">
                  <c:v>-877.7</c:v>
                </c:pt>
                <c:pt idx="225">
                  <c:v>-881.6</c:v>
                </c:pt>
                <c:pt idx="226">
                  <c:v>-885.5</c:v>
                </c:pt>
                <c:pt idx="227">
                  <c:v>-889.4</c:v>
                </c:pt>
                <c:pt idx="228">
                  <c:v>-893.3</c:v>
                </c:pt>
                <c:pt idx="229">
                  <c:v>-897.2</c:v>
                </c:pt>
                <c:pt idx="230">
                  <c:v>-901.1</c:v>
                </c:pt>
                <c:pt idx="231">
                  <c:v>-905</c:v>
                </c:pt>
                <c:pt idx="232">
                  <c:v>-908.8</c:v>
                </c:pt>
                <c:pt idx="233">
                  <c:v>-912.7</c:v>
                </c:pt>
                <c:pt idx="234">
                  <c:v>-916.6</c:v>
                </c:pt>
                <c:pt idx="235">
                  <c:v>-920.5</c:v>
                </c:pt>
                <c:pt idx="236">
                  <c:v>-924.4</c:v>
                </c:pt>
                <c:pt idx="237">
                  <c:v>-928.3</c:v>
                </c:pt>
                <c:pt idx="238">
                  <c:v>-932.2</c:v>
                </c:pt>
                <c:pt idx="239">
                  <c:v>-936.1</c:v>
                </c:pt>
                <c:pt idx="240">
                  <c:v>-940</c:v>
                </c:pt>
                <c:pt idx="241">
                  <c:v>-943.9</c:v>
                </c:pt>
                <c:pt idx="242">
                  <c:v>-947.8</c:v>
                </c:pt>
                <c:pt idx="243">
                  <c:v>-951.7</c:v>
                </c:pt>
                <c:pt idx="244">
                  <c:v>-955.6</c:v>
                </c:pt>
                <c:pt idx="245">
                  <c:v>-959.5</c:v>
                </c:pt>
                <c:pt idx="246">
                  <c:v>-963.4</c:v>
                </c:pt>
                <c:pt idx="247">
                  <c:v>-967.3</c:v>
                </c:pt>
                <c:pt idx="248">
                  <c:v>-971.2</c:v>
                </c:pt>
                <c:pt idx="249">
                  <c:v>-975.1</c:v>
                </c:pt>
                <c:pt idx="250">
                  <c:v>-979</c:v>
                </c:pt>
                <c:pt idx="251">
                  <c:v>-982.9</c:v>
                </c:pt>
                <c:pt idx="252">
                  <c:v>-986.7</c:v>
                </c:pt>
                <c:pt idx="253">
                  <c:v>-990.6</c:v>
                </c:pt>
                <c:pt idx="254">
                  <c:v>-994.5</c:v>
                </c:pt>
                <c:pt idx="255">
                  <c:v>-998.4</c:v>
                </c:pt>
                <c:pt idx="256">
                  <c:v>-1002.3</c:v>
                </c:pt>
                <c:pt idx="257">
                  <c:v>-1006.2</c:v>
                </c:pt>
                <c:pt idx="258">
                  <c:v>-1010.1</c:v>
                </c:pt>
                <c:pt idx="259">
                  <c:v>-1014</c:v>
                </c:pt>
                <c:pt idx="260">
                  <c:v>-1017.9</c:v>
                </c:pt>
                <c:pt idx="261">
                  <c:v>-1021.8</c:v>
                </c:pt>
                <c:pt idx="262">
                  <c:v>-1025.7</c:v>
                </c:pt>
                <c:pt idx="263">
                  <c:v>-1029.5999999999999</c:v>
                </c:pt>
                <c:pt idx="264">
                  <c:v>-1033.5</c:v>
                </c:pt>
                <c:pt idx="265">
                  <c:v>-1037.4000000000001</c:v>
                </c:pt>
                <c:pt idx="266">
                  <c:v>-1041.3</c:v>
                </c:pt>
                <c:pt idx="267">
                  <c:v>-1045.2</c:v>
                </c:pt>
                <c:pt idx="268">
                  <c:v>-1049.0999999999999</c:v>
                </c:pt>
                <c:pt idx="269">
                  <c:v>-1053</c:v>
                </c:pt>
                <c:pt idx="270">
                  <c:v>-1056.9000000000001</c:v>
                </c:pt>
                <c:pt idx="271">
                  <c:v>-1060.8</c:v>
                </c:pt>
                <c:pt idx="272">
                  <c:v>-1064.5999999999999</c:v>
                </c:pt>
                <c:pt idx="273">
                  <c:v>-1068.5</c:v>
                </c:pt>
                <c:pt idx="274">
                  <c:v>-1072.4000000000001</c:v>
                </c:pt>
                <c:pt idx="275">
                  <c:v>-1076.3</c:v>
                </c:pt>
                <c:pt idx="276">
                  <c:v>-1080.2</c:v>
                </c:pt>
                <c:pt idx="277">
                  <c:v>-1084.0999999999999</c:v>
                </c:pt>
                <c:pt idx="278">
                  <c:v>-1088</c:v>
                </c:pt>
                <c:pt idx="279">
                  <c:v>-1091.9000000000001</c:v>
                </c:pt>
                <c:pt idx="280">
                  <c:v>-1095.8</c:v>
                </c:pt>
                <c:pt idx="281">
                  <c:v>-1099.7</c:v>
                </c:pt>
                <c:pt idx="282">
                  <c:v>-1103.5999999999999</c:v>
                </c:pt>
                <c:pt idx="283">
                  <c:v>-1107.5</c:v>
                </c:pt>
                <c:pt idx="284">
                  <c:v>-1111.4000000000001</c:v>
                </c:pt>
                <c:pt idx="285">
                  <c:v>-1115.3</c:v>
                </c:pt>
                <c:pt idx="286">
                  <c:v>-1119.2</c:v>
                </c:pt>
                <c:pt idx="287">
                  <c:v>-1123.0999999999999</c:v>
                </c:pt>
                <c:pt idx="288">
                  <c:v>-1127</c:v>
                </c:pt>
                <c:pt idx="289">
                  <c:v>-1130.9000000000001</c:v>
                </c:pt>
                <c:pt idx="290">
                  <c:v>-1134.8</c:v>
                </c:pt>
                <c:pt idx="291">
                  <c:v>-1138.7</c:v>
                </c:pt>
                <c:pt idx="292">
                  <c:v>-1142.5</c:v>
                </c:pt>
                <c:pt idx="293">
                  <c:v>-1146.4000000000001</c:v>
                </c:pt>
                <c:pt idx="294">
                  <c:v>-1150.3</c:v>
                </c:pt>
                <c:pt idx="295">
                  <c:v>-1154.2</c:v>
                </c:pt>
                <c:pt idx="296">
                  <c:v>-1158.0999999999999</c:v>
                </c:pt>
                <c:pt idx="297">
                  <c:v>-1162</c:v>
                </c:pt>
                <c:pt idx="298">
                  <c:v>-1165.9000000000001</c:v>
                </c:pt>
                <c:pt idx="299">
                  <c:v>-1169.8</c:v>
                </c:pt>
                <c:pt idx="300">
                  <c:v>-1173.7</c:v>
                </c:pt>
                <c:pt idx="301">
                  <c:v>-1177.5999999999999</c:v>
                </c:pt>
                <c:pt idx="302">
                  <c:v>-1181.5</c:v>
                </c:pt>
                <c:pt idx="303">
                  <c:v>-1185.4000000000001</c:v>
                </c:pt>
                <c:pt idx="304">
                  <c:v>-1189.3</c:v>
                </c:pt>
                <c:pt idx="305">
                  <c:v>-1193.2</c:v>
                </c:pt>
                <c:pt idx="306">
                  <c:v>-1197.0999999999999</c:v>
                </c:pt>
                <c:pt idx="307">
                  <c:v>-1201</c:v>
                </c:pt>
                <c:pt idx="308">
                  <c:v>-1204.9000000000001</c:v>
                </c:pt>
                <c:pt idx="309">
                  <c:v>-1208.8</c:v>
                </c:pt>
                <c:pt idx="310">
                  <c:v>-1212.7</c:v>
                </c:pt>
                <c:pt idx="311">
                  <c:v>-1216.5999999999999</c:v>
                </c:pt>
                <c:pt idx="312">
                  <c:v>-1220.4000000000001</c:v>
                </c:pt>
                <c:pt idx="313">
                  <c:v>-1224.3</c:v>
                </c:pt>
                <c:pt idx="314">
                  <c:v>-1228.2</c:v>
                </c:pt>
                <c:pt idx="315">
                  <c:v>-1232.0999999999999</c:v>
                </c:pt>
                <c:pt idx="316">
                  <c:v>-1236</c:v>
                </c:pt>
                <c:pt idx="317">
                  <c:v>-1239.9000000000001</c:v>
                </c:pt>
                <c:pt idx="318">
                  <c:v>-1243.8</c:v>
                </c:pt>
                <c:pt idx="319">
                  <c:v>-1247.7</c:v>
                </c:pt>
                <c:pt idx="320">
                  <c:v>-1251.5999999999999</c:v>
                </c:pt>
                <c:pt idx="321">
                  <c:v>-1255.5</c:v>
                </c:pt>
                <c:pt idx="322">
                  <c:v>-1259.4000000000001</c:v>
                </c:pt>
                <c:pt idx="323">
                  <c:v>-1263.3</c:v>
                </c:pt>
                <c:pt idx="324">
                  <c:v>-1267.2</c:v>
                </c:pt>
                <c:pt idx="325">
                  <c:v>-1271.0999999999999</c:v>
                </c:pt>
                <c:pt idx="326">
                  <c:v>-1275</c:v>
                </c:pt>
                <c:pt idx="327">
                  <c:v>-1278.9000000000001</c:v>
                </c:pt>
                <c:pt idx="328">
                  <c:v>-1282.8</c:v>
                </c:pt>
                <c:pt idx="329">
                  <c:v>-1286.7</c:v>
                </c:pt>
                <c:pt idx="330">
                  <c:v>-1290.5999999999999</c:v>
                </c:pt>
                <c:pt idx="331">
                  <c:v>-1294.5</c:v>
                </c:pt>
                <c:pt idx="332">
                  <c:v>-1298.3</c:v>
                </c:pt>
                <c:pt idx="333">
                  <c:v>-1302.2</c:v>
                </c:pt>
                <c:pt idx="334">
                  <c:v>-1306.0999999999999</c:v>
                </c:pt>
                <c:pt idx="335">
                  <c:v>-1310</c:v>
                </c:pt>
                <c:pt idx="336">
                  <c:v>-1313.9</c:v>
                </c:pt>
                <c:pt idx="337">
                  <c:v>-1317.8</c:v>
                </c:pt>
                <c:pt idx="338">
                  <c:v>-1321.7</c:v>
                </c:pt>
                <c:pt idx="339">
                  <c:v>-1325.6</c:v>
                </c:pt>
                <c:pt idx="340">
                  <c:v>-1329.5</c:v>
                </c:pt>
                <c:pt idx="341">
                  <c:v>-1333.4</c:v>
                </c:pt>
                <c:pt idx="342">
                  <c:v>-1337.3</c:v>
                </c:pt>
                <c:pt idx="343">
                  <c:v>-1341.2</c:v>
                </c:pt>
                <c:pt idx="344">
                  <c:v>-1345.1</c:v>
                </c:pt>
                <c:pt idx="345">
                  <c:v>-1349</c:v>
                </c:pt>
                <c:pt idx="346">
                  <c:v>-1352.9</c:v>
                </c:pt>
                <c:pt idx="347">
                  <c:v>-1356.8</c:v>
                </c:pt>
                <c:pt idx="348">
                  <c:v>-1360.7</c:v>
                </c:pt>
                <c:pt idx="349">
                  <c:v>-1364.6</c:v>
                </c:pt>
                <c:pt idx="350">
                  <c:v>-1368.5</c:v>
                </c:pt>
                <c:pt idx="351">
                  <c:v>-1372.4</c:v>
                </c:pt>
                <c:pt idx="352">
                  <c:v>-1376.2</c:v>
                </c:pt>
                <c:pt idx="353">
                  <c:v>-1380.1</c:v>
                </c:pt>
                <c:pt idx="354">
                  <c:v>-1384</c:v>
                </c:pt>
                <c:pt idx="355">
                  <c:v>-1387.9</c:v>
                </c:pt>
                <c:pt idx="356">
                  <c:v>-1391.8</c:v>
                </c:pt>
                <c:pt idx="357">
                  <c:v>-1395.7</c:v>
                </c:pt>
                <c:pt idx="358">
                  <c:v>-1399.6</c:v>
                </c:pt>
                <c:pt idx="359">
                  <c:v>-1403.5</c:v>
                </c:pt>
                <c:pt idx="360">
                  <c:v>-1407.4</c:v>
                </c:pt>
                <c:pt idx="361">
                  <c:v>-1411.3</c:v>
                </c:pt>
                <c:pt idx="362">
                  <c:v>-1415.2</c:v>
                </c:pt>
                <c:pt idx="363">
                  <c:v>-1419.1</c:v>
                </c:pt>
                <c:pt idx="364">
                  <c:v>-1423</c:v>
                </c:pt>
                <c:pt idx="365">
                  <c:v>-1426.9</c:v>
                </c:pt>
                <c:pt idx="366">
                  <c:v>-1430.8</c:v>
                </c:pt>
                <c:pt idx="367">
                  <c:v>-1434.7</c:v>
                </c:pt>
                <c:pt idx="368">
                  <c:v>-1438.6</c:v>
                </c:pt>
                <c:pt idx="369">
                  <c:v>-1442.5</c:v>
                </c:pt>
                <c:pt idx="370">
                  <c:v>-1446.4</c:v>
                </c:pt>
                <c:pt idx="371">
                  <c:v>-1450.3</c:v>
                </c:pt>
                <c:pt idx="372">
                  <c:v>-1454.1</c:v>
                </c:pt>
                <c:pt idx="373">
                  <c:v>-1458</c:v>
                </c:pt>
                <c:pt idx="374">
                  <c:v>-1461.9</c:v>
                </c:pt>
                <c:pt idx="375">
                  <c:v>-1465.8</c:v>
                </c:pt>
                <c:pt idx="376">
                  <c:v>-1469.7</c:v>
                </c:pt>
                <c:pt idx="377">
                  <c:v>-1473.6</c:v>
                </c:pt>
                <c:pt idx="378">
                  <c:v>-1477.5</c:v>
                </c:pt>
                <c:pt idx="379">
                  <c:v>-1481.4</c:v>
                </c:pt>
                <c:pt idx="380">
                  <c:v>-1485.3</c:v>
                </c:pt>
                <c:pt idx="381">
                  <c:v>-1489.2</c:v>
                </c:pt>
                <c:pt idx="382">
                  <c:v>-1493.1</c:v>
                </c:pt>
                <c:pt idx="383">
                  <c:v>-1497</c:v>
                </c:pt>
                <c:pt idx="384">
                  <c:v>-1500.9</c:v>
                </c:pt>
                <c:pt idx="385">
                  <c:v>-1504.8</c:v>
                </c:pt>
                <c:pt idx="386">
                  <c:v>-1508.7</c:v>
                </c:pt>
                <c:pt idx="387">
                  <c:v>-1512.6</c:v>
                </c:pt>
                <c:pt idx="388">
                  <c:v>-1516.5</c:v>
                </c:pt>
                <c:pt idx="389">
                  <c:v>-1520.4</c:v>
                </c:pt>
                <c:pt idx="390">
                  <c:v>-1524.3</c:v>
                </c:pt>
                <c:pt idx="391">
                  <c:v>-1528.2</c:v>
                </c:pt>
                <c:pt idx="392">
                  <c:v>-1532</c:v>
                </c:pt>
                <c:pt idx="393">
                  <c:v>-1535.9</c:v>
                </c:pt>
                <c:pt idx="394">
                  <c:v>-1539.8</c:v>
                </c:pt>
                <c:pt idx="395">
                  <c:v>-1543.7</c:v>
                </c:pt>
                <c:pt idx="396">
                  <c:v>-1547.6</c:v>
                </c:pt>
                <c:pt idx="397">
                  <c:v>-1551.5</c:v>
                </c:pt>
                <c:pt idx="398">
                  <c:v>-1555.4</c:v>
                </c:pt>
                <c:pt idx="399">
                  <c:v>-1559.3</c:v>
                </c:pt>
                <c:pt idx="400">
                  <c:v>-1563.2</c:v>
                </c:pt>
                <c:pt idx="401">
                  <c:v>-1567.1</c:v>
                </c:pt>
                <c:pt idx="402">
                  <c:v>-1571</c:v>
                </c:pt>
                <c:pt idx="403">
                  <c:v>-1574.9</c:v>
                </c:pt>
                <c:pt idx="404">
                  <c:v>-1578.8</c:v>
                </c:pt>
                <c:pt idx="405">
                  <c:v>-1582.7</c:v>
                </c:pt>
                <c:pt idx="406">
                  <c:v>-1586.6</c:v>
                </c:pt>
                <c:pt idx="407">
                  <c:v>-1590.5</c:v>
                </c:pt>
                <c:pt idx="408">
                  <c:v>-1594.4</c:v>
                </c:pt>
                <c:pt idx="409">
                  <c:v>-1598.3</c:v>
                </c:pt>
                <c:pt idx="410">
                  <c:v>-1602.2</c:v>
                </c:pt>
                <c:pt idx="411">
                  <c:v>-1606.1</c:v>
                </c:pt>
                <c:pt idx="412">
                  <c:v>-1609.9</c:v>
                </c:pt>
                <c:pt idx="413">
                  <c:v>-1613.8</c:v>
                </c:pt>
                <c:pt idx="414">
                  <c:v>-1617.7</c:v>
                </c:pt>
                <c:pt idx="415">
                  <c:v>-1621.6</c:v>
                </c:pt>
                <c:pt idx="416">
                  <c:v>-1625.5</c:v>
                </c:pt>
                <c:pt idx="417">
                  <c:v>-1629.4</c:v>
                </c:pt>
                <c:pt idx="418">
                  <c:v>-1633.3</c:v>
                </c:pt>
                <c:pt idx="419">
                  <c:v>-1637.2</c:v>
                </c:pt>
                <c:pt idx="420">
                  <c:v>-1641.1</c:v>
                </c:pt>
                <c:pt idx="421">
                  <c:v>-1645</c:v>
                </c:pt>
                <c:pt idx="422">
                  <c:v>-1648.9</c:v>
                </c:pt>
                <c:pt idx="423">
                  <c:v>-1652.8</c:v>
                </c:pt>
                <c:pt idx="424">
                  <c:v>-1656.7</c:v>
                </c:pt>
                <c:pt idx="425">
                  <c:v>-1660.6</c:v>
                </c:pt>
                <c:pt idx="426">
                  <c:v>-1664.5</c:v>
                </c:pt>
                <c:pt idx="427">
                  <c:v>-1668.4</c:v>
                </c:pt>
                <c:pt idx="428">
                  <c:v>-1672.3</c:v>
                </c:pt>
                <c:pt idx="429">
                  <c:v>-1676.2</c:v>
                </c:pt>
                <c:pt idx="430">
                  <c:v>-1680.1</c:v>
                </c:pt>
                <c:pt idx="431">
                  <c:v>-1684</c:v>
                </c:pt>
                <c:pt idx="432">
                  <c:v>-1687.8</c:v>
                </c:pt>
                <c:pt idx="433">
                  <c:v>-1691.7</c:v>
                </c:pt>
                <c:pt idx="434">
                  <c:v>-1695.6</c:v>
                </c:pt>
                <c:pt idx="435">
                  <c:v>-1699.5</c:v>
                </c:pt>
                <c:pt idx="436">
                  <c:v>-1703.4</c:v>
                </c:pt>
                <c:pt idx="437">
                  <c:v>-1707.3</c:v>
                </c:pt>
                <c:pt idx="438">
                  <c:v>-1711.2</c:v>
                </c:pt>
                <c:pt idx="439">
                  <c:v>-1715.1</c:v>
                </c:pt>
                <c:pt idx="440">
                  <c:v>-1719</c:v>
                </c:pt>
                <c:pt idx="441">
                  <c:v>-1722.9</c:v>
                </c:pt>
                <c:pt idx="442">
                  <c:v>-1726.8</c:v>
                </c:pt>
                <c:pt idx="443">
                  <c:v>-1730.7</c:v>
                </c:pt>
                <c:pt idx="444">
                  <c:v>-1734.6</c:v>
                </c:pt>
                <c:pt idx="445">
                  <c:v>-1738.5</c:v>
                </c:pt>
                <c:pt idx="446">
                  <c:v>-1742.4</c:v>
                </c:pt>
                <c:pt idx="447">
                  <c:v>-1746.3</c:v>
                </c:pt>
                <c:pt idx="448">
                  <c:v>-1750.2</c:v>
                </c:pt>
                <c:pt idx="449">
                  <c:v>-1754.1</c:v>
                </c:pt>
                <c:pt idx="450">
                  <c:v>-1758</c:v>
                </c:pt>
                <c:pt idx="451">
                  <c:v>-1761.9</c:v>
                </c:pt>
                <c:pt idx="452">
                  <c:v>-1765.7</c:v>
                </c:pt>
                <c:pt idx="453">
                  <c:v>-1769.6</c:v>
                </c:pt>
                <c:pt idx="454">
                  <c:v>-1773.5</c:v>
                </c:pt>
                <c:pt idx="455">
                  <c:v>-1777.4</c:v>
                </c:pt>
                <c:pt idx="456">
                  <c:v>-1781.3</c:v>
                </c:pt>
                <c:pt idx="457">
                  <c:v>-1785.2</c:v>
                </c:pt>
                <c:pt idx="458">
                  <c:v>-1789.1</c:v>
                </c:pt>
                <c:pt idx="459">
                  <c:v>-1793</c:v>
                </c:pt>
                <c:pt idx="460">
                  <c:v>-1796.9</c:v>
                </c:pt>
                <c:pt idx="461">
                  <c:v>-1800.8</c:v>
                </c:pt>
                <c:pt idx="462">
                  <c:v>-1804.7</c:v>
                </c:pt>
                <c:pt idx="463">
                  <c:v>-1808.6</c:v>
                </c:pt>
                <c:pt idx="464">
                  <c:v>-1812.5</c:v>
                </c:pt>
                <c:pt idx="465">
                  <c:v>-1816.4</c:v>
                </c:pt>
                <c:pt idx="466">
                  <c:v>-1820.3</c:v>
                </c:pt>
                <c:pt idx="467">
                  <c:v>-1824.2</c:v>
                </c:pt>
                <c:pt idx="468">
                  <c:v>-1828.1</c:v>
                </c:pt>
                <c:pt idx="469">
                  <c:v>-1832</c:v>
                </c:pt>
                <c:pt idx="470">
                  <c:v>-1835.9</c:v>
                </c:pt>
                <c:pt idx="471">
                  <c:v>-1839.8</c:v>
                </c:pt>
                <c:pt idx="472">
                  <c:v>-1843.6</c:v>
                </c:pt>
                <c:pt idx="473">
                  <c:v>-1847.5</c:v>
                </c:pt>
                <c:pt idx="474">
                  <c:v>-1851.4</c:v>
                </c:pt>
                <c:pt idx="475">
                  <c:v>-1855.3</c:v>
                </c:pt>
                <c:pt idx="476">
                  <c:v>-1859.2</c:v>
                </c:pt>
                <c:pt idx="477">
                  <c:v>-1863.1</c:v>
                </c:pt>
                <c:pt idx="478">
                  <c:v>-1867</c:v>
                </c:pt>
                <c:pt idx="479">
                  <c:v>-1870.9</c:v>
                </c:pt>
                <c:pt idx="480">
                  <c:v>-1874.8</c:v>
                </c:pt>
                <c:pt idx="481">
                  <c:v>-1878.7</c:v>
                </c:pt>
                <c:pt idx="482">
                  <c:v>-1882.6</c:v>
                </c:pt>
                <c:pt idx="483">
                  <c:v>-1886.5</c:v>
                </c:pt>
                <c:pt idx="484">
                  <c:v>-1890.4</c:v>
                </c:pt>
                <c:pt idx="485">
                  <c:v>-1894.3</c:v>
                </c:pt>
                <c:pt idx="486">
                  <c:v>-1898.2</c:v>
                </c:pt>
                <c:pt idx="487">
                  <c:v>-1902.1</c:v>
                </c:pt>
                <c:pt idx="488">
                  <c:v>-1906</c:v>
                </c:pt>
                <c:pt idx="489">
                  <c:v>-1909.9</c:v>
                </c:pt>
                <c:pt idx="490">
                  <c:v>-1913.8</c:v>
                </c:pt>
                <c:pt idx="491">
                  <c:v>-1917.7</c:v>
                </c:pt>
                <c:pt idx="492">
                  <c:v>-1921.5</c:v>
                </c:pt>
                <c:pt idx="493">
                  <c:v>-1925.4</c:v>
                </c:pt>
                <c:pt idx="494">
                  <c:v>-1929.3</c:v>
                </c:pt>
                <c:pt idx="495">
                  <c:v>-1933.2</c:v>
                </c:pt>
                <c:pt idx="496">
                  <c:v>-1937.1</c:v>
                </c:pt>
                <c:pt idx="497">
                  <c:v>-1941</c:v>
                </c:pt>
                <c:pt idx="498">
                  <c:v>-1944.9</c:v>
                </c:pt>
                <c:pt idx="499">
                  <c:v>-1948.8</c:v>
                </c:pt>
                <c:pt idx="500">
                  <c:v>-1952.7</c:v>
                </c:pt>
                <c:pt idx="501">
                  <c:v>-1956.6</c:v>
                </c:pt>
                <c:pt idx="502">
                  <c:v>-1960.5</c:v>
                </c:pt>
                <c:pt idx="503">
                  <c:v>-1964.4</c:v>
                </c:pt>
                <c:pt idx="504">
                  <c:v>-1968.3</c:v>
                </c:pt>
                <c:pt idx="505">
                  <c:v>-1972.2</c:v>
                </c:pt>
                <c:pt idx="506">
                  <c:v>-1976.1</c:v>
                </c:pt>
                <c:pt idx="507">
                  <c:v>-1980</c:v>
                </c:pt>
                <c:pt idx="508">
                  <c:v>-1983.9</c:v>
                </c:pt>
                <c:pt idx="509">
                  <c:v>-1987.8</c:v>
                </c:pt>
                <c:pt idx="510">
                  <c:v>-1991.7</c:v>
                </c:pt>
                <c:pt idx="511">
                  <c:v>-1995.6</c:v>
                </c:pt>
                <c:pt idx="512">
                  <c:v>-1999.4</c:v>
                </c:pt>
                <c:pt idx="513">
                  <c:v>-2003.3</c:v>
                </c:pt>
                <c:pt idx="514">
                  <c:v>-2007.2</c:v>
                </c:pt>
                <c:pt idx="515">
                  <c:v>-2011.1</c:v>
                </c:pt>
                <c:pt idx="516">
                  <c:v>-2015</c:v>
                </c:pt>
                <c:pt idx="517">
                  <c:v>-2018.9</c:v>
                </c:pt>
                <c:pt idx="518">
                  <c:v>-2022.8</c:v>
                </c:pt>
                <c:pt idx="519">
                  <c:v>-2026.7</c:v>
                </c:pt>
                <c:pt idx="520">
                  <c:v>-2030.6</c:v>
                </c:pt>
                <c:pt idx="521">
                  <c:v>-2034.5</c:v>
                </c:pt>
                <c:pt idx="522">
                  <c:v>-2038.4</c:v>
                </c:pt>
                <c:pt idx="523">
                  <c:v>-2042.3</c:v>
                </c:pt>
                <c:pt idx="524">
                  <c:v>-2046.2</c:v>
                </c:pt>
                <c:pt idx="525">
                  <c:v>-2050.1</c:v>
                </c:pt>
                <c:pt idx="526">
                  <c:v>-2054</c:v>
                </c:pt>
                <c:pt idx="527">
                  <c:v>-2057.9</c:v>
                </c:pt>
                <c:pt idx="528">
                  <c:v>-2061.8000000000002</c:v>
                </c:pt>
                <c:pt idx="529">
                  <c:v>-2065.6999999999998</c:v>
                </c:pt>
                <c:pt idx="530">
                  <c:v>-2069.6</c:v>
                </c:pt>
                <c:pt idx="531">
                  <c:v>-2073.5</c:v>
                </c:pt>
                <c:pt idx="532">
                  <c:v>-2077.3000000000002</c:v>
                </c:pt>
                <c:pt idx="533">
                  <c:v>-2081.1999999999998</c:v>
                </c:pt>
                <c:pt idx="534">
                  <c:v>-2085.1</c:v>
                </c:pt>
                <c:pt idx="535">
                  <c:v>-2089</c:v>
                </c:pt>
                <c:pt idx="536">
                  <c:v>-2092.9</c:v>
                </c:pt>
                <c:pt idx="537">
                  <c:v>-2096.8000000000002</c:v>
                </c:pt>
                <c:pt idx="538">
                  <c:v>-2100.6999999999998</c:v>
                </c:pt>
                <c:pt idx="539">
                  <c:v>-2104.6</c:v>
                </c:pt>
                <c:pt idx="540">
                  <c:v>-2108.5</c:v>
                </c:pt>
                <c:pt idx="541">
                  <c:v>-2112.4</c:v>
                </c:pt>
                <c:pt idx="542">
                  <c:v>-2116.3000000000002</c:v>
                </c:pt>
                <c:pt idx="543">
                  <c:v>-2120.1999999999998</c:v>
                </c:pt>
                <c:pt idx="544">
                  <c:v>-2124.1</c:v>
                </c:pt>
                <c:pt idx="545">
                  <c:v>-2128</c:v>
                </c:pt>
                <c:pt idx="546">
                  <c:v>-2131.9</c:v>
                </c:pt>
                <c:pt idx="547">
                  <c:v>-2135.8000000000002</c:v>
                </c:pt>
                <c:pt idx="548">
                  <c:v>-2139.6999999999998</c:v>
                </c:pt>
                <c:pt idx="549">
                  <c:v>-2143.6</c:v>
                </c:pt>
                <c:pt idx="550">
                  <c:v>-2147.5</c:v>
                </c:pt>
                <c:pt idx="551">
                  <c:v>-2151.4</c:v>
                </c:pt>
                <c:pt idx="552">
                  <c:v>-2155.1999999999998</c:v>
                </c:pt>
                <c:pt idx="553">
                  <c:v>-2159.1</c:v>
                </c:pt>
                <c:pt idx="554">
                  <c:v>-2163</c:v>
                </c:pt>
                <c:pt idx="555">
                  <c:v>-2166.9</c:v>
                </c:pt>
                <c:pt idx="556">
                  <c:v>-2170.8000000000002</c:v>
                </c:pt>
                <c:pt idx="557">
                  <c:v>-2174.6999999999998</c:v>
                </c:pt>
                <c:pt idx="558">
                  <c:v>-2178.6</c:v>
                </c:pt>
                <c:pt idx="559">
                  <c:v>-2182.5</c:v>
                </c:pt>
                <c:pt idx="560">
                  <c:v>-2186.4</c:v>
                </c:pt>
                <c:pt idx="561">
                  <c:v>-2190.3000000000002</c:v>
                </c:pt>
                <c:pt idx="562">
                  <c:v>-2194.1999999999998</c:v>
                </c:pt>
                <c:pt idx="563">
                  <c:v>-2198.1</c:v>
                </c:pt>
                <c:pt idx="564">
                  <c:v>-2202</c:v>
                </c:pt>
                <c:pt idx="565">
                  <c:v>-2205.9</c:v>
                </c:pt>
                <c:pt idx="566">
                  <c:v>-2209.8000000000002</c:v>
                </c:pt>
                <c:pt idx="567">
                  <c:v>-2213.6999999999998</c:v>
                </c:pt>
                <c:pt idx="568">
                  <c:v>-2217.6</c:v>
                </c:pt>
                <c:pt idx="569">
                  <c:v>-2221.5</c:v>
                </c:pt>
                <c:pt idx="570">
                  <c:v>-2225.4</c:v>
                </c:pt>
                <c:pt idx="571">
                  <c:v>-2229.3000000000002</c:v>
                </c:pt>
                <c:pt idx="572">
                  <c:v>-2233.1</c:v>
                </c:pt>
                <c:pt idx="573">
                  <c:v>-2237</c:v>
                </c:pt>
                <c:pt idx="574">
                  <c:v>-2240.9</c:v>
                </c:pt>
                <c:pt idx="575">
                  <c:v>-2244.8000000000002</c:v>
                </c:pt>
                <c:pt idx="576">
                  <c:v>-2248.6999999999998</c:v>
                </c:pt>
                <c:pt idx="577">
                  <c:v>-2252.6</c:v>
                </c:pt>
                <c:pt idx="578">
                  <c:v>-2256.5</c:v>
                </c:pt>
                <c:pt idx="579">
                  <c:v>-2260.4</c:v>
                </c:pt>
                <c:pt idx="580">
                  <c:v>-2264.3000000000002</c:v>
                </c:pt>
                <c:pt idx="581">
                  <c:v>-2268.1999999999998</c:v>
                </c:pt>
                <c:pt idx="582">
                  <c:v>-2272.1</c:v>
                </c:pt>
                <c:pt idx="583">
                  <c:v>-2276</c:v>
                </c:pt>
                <c:pt idx="584">
                  <c:v>-2279.9</c:v>
                </c:pt>
                <c:pt idx="585">
                  <c:v>-2283.8000000000002</c:v>
                </c:pt>
                <c:pt idx="586">
                  <c:v>-2287.6999999999998</c:v>
                </c:pt>
                <c:pt idx="587">
                  <c:v>-2291.6</c:v>
                </c:pt>
                <c:pt idx="588">
                  <c:v>-2295.5</c:v>
                </c:pt>
                <c:pt idx="589">
                  <c:v>-2299.4</c:v>
                </c:pt>
                <c:pt idx="590">
                  <c:v>-2303.3000000000002</c:v>
                </c:pt>
                <c:pt idx="591">
                  <c:v>-2307.1999999999998</c:v>
                </c:pt>
                <c:pt idx="592">
                  <c:v>-2311</c:v>
                </c:pt>
                <c:pt idx="593">
                  <c:v>-2314.9</c:v>
                </c:pt>
                <c:pt idx="594">
                  <c:v>-2318.8000000000002</c:v>
                </c:pt>
                <c:pt idx="595">
                  <c:v>-2322.6999999999998</c:v>
                </c:pt>
                <c:pt idx="596">
                  <c:v>-2326.6</c:v>
                </c:pt>
                <c:pt idx="597">
                  <c:v>-2330.5</c:v>
                </c:pt>
                <c:pt idx="598">
                  <c:v>-2334.4</c:v>
                </c:pt>
                <c:pt idx="599">
                  <c:v>-2338.3000000000002</c:v>
                </c:pt>
                <c:pt idx="600">
                  <c:v>-2342.1999999999998</c:v>
                </c:pt>
                <c:pt idx="601">
                  <c:v>-2346.1</c:v>
                </c:pt>
                <c:pt idx="602">
                  <c:v>-2350</c:v>
                </c:pt>
                <c:pt idx="603">
                  <c:v>-2353.9</c:v>
                </c:pt>
                <c:pt idx="604">
                  <c:v>-2357.8000000000002</c:v>
                </c:pt>
                <c:pt idx="605">
                  <c:v>-2361.6999999999998</c:v>
                </c:pt>
                <c:pt idx="606">
                  <c:v>-2365.6</c:v>
                </c:pt>
                <c:pt idx="607">
                  <c:v>-2369.5</c:v>
                </c:pt>
                <c:pt idx="608">
                  <c:v>-2373.4</c:v>
                </c:pt>
                <c:pt idx="609">
                  <c:v>-2377.3000000000002</c:v>
                </c:pt>
                <c:pt idx="610">
                  <c:v>-2381.1999999999998</c:v>
                </c:pt>
                <c:pt idx="611">
                  <c:v>-2385.1</c:v>
                </c:pt>
                <c:pt idx="612">
                  <c:v>-2392.8000000000002</c:v>
                </c:pt>
                <c:pt idx="613">
                  <c:v>-2396.6999999999998</c:v>
                </c:pt>
                <c:pt idx="614">
                  <c:v>-2400.6</c:v>
                </c:pt>
                <c:pt idx="615">
                  <c:v>-2404.5</c:v>
                </c:pt>
                <c:pt idx="616">
                  <c:v>-2408.4</c:v>
                </c:pt>
                <c:pt idx="617">
                  <c:v>-2412.3000000000002</c:v>
                </c:pt>
                <c:pt idx="618">
                  <c:v>-2416.1999999999998</c:v>
                </c:pt>
                <c:pt idx="619">
                  <c:v>-2420.1</c:v>
                </c:pt>
                <c:pt idx="620">
                  <c:v>-2424</c:v>
                </c:pt>
                <c:pt idx="621">
                  <c:v>-2431.8000000000002</c:v>
                </c:pt>
                <c:pt idx="622">
                  <c:v>-2435.6999999999998</c:v>
                </c:pt>
                <c:pt idx="623">
                  <c:v>-2447.4</c:v>
                </c:pt>
                <c:pt idx="624">
                  <c:v>-2451.3000000000002</c:v>
                </c:pt>
                <c:pt idx="625">
                  <c:v>-2455.1999999999998</c:v>
                </c:pt>
                <c:pt idx="626">
                  <c:v>-2459.1</c:v>
                </c:pt>
                <c:pt idx="627">
                  <c:v>-2463</c:v>
                </c:pt>
                <c:pt idx="628">
                  <c:v>-2470.6999999999998</c:v>
                </c:pt>
                <c:pt idx="629">
                  <c:v>-2474.6</c:v>
                </c:pt>
                <c:pt idx="630">
                  <c:v>-2478.5</c:v>
                </c:pt>
                <c:pt idx="631">
                  <c:v>-2486.3000000000002</c:v>
                </c:pt>
                <c:pt idx="632">
                  <c:v>-2494.1</c:v>
                </c:pt>
                <c:pt idx="633">
                  <c:v>-2498</c:v>
                </c:pt>
                <c:pt idx="634">
                  <c:v>-2501.9</c:v>
                </c:pt>
                <c:pt idx="635">
                  <c:v>-2505.8000000000002</c:v>
                </c:pt>
              </c:numCache>
            </c:numRef>
          </c:yVal>
          <c:smooth val="1"/>
        </c:ser>
        <c:ser>
          <c:idx val="2"/>
          <c:order val="1"/>
          <c:tx>
            <c:v>Messung GB II</c:v>
          </c:tx>
          <c:spPr>
            <a:ln w="43432">
              <a:solidFill>
                <a:srgbClr val="FF9900"/>
              </a:solidFill>
              <a:prstDash val="solid"/>
            </a:ln>
          </c:spPr>
          <c:marker>
            <c:symbol val="none"/>
          </c:marker>
          <c:xVal>
            <c:numRef>
              <c:f>Temperatur!$C$2:$C$637</c:f>
              <c:numCache>
                <c:formatCode>General</c:formatCode>
                <c:ptCount val="636"/>
                <c:pt idx="0">
                  <c:v>13.17</c:v>
                </c:pt>
                <c:pt idx="1">
                  <c:v>13.12</c:v>
                </c:pt>
                <c:pt idx="2">
                  <c:v>13.09</c:v>
                </c:pt>
                <c:pt idx="3">
                  <c:v>13.03</c:v>
                </c:pt>
                <c:pt idx="4">
                  <c:v>12.96</c:v>
                </c:pt>
                <c:pt idx="5">
                  <c:v>12.92</c:v>
                </c:pt>
                <c:pt idx="6">
                  <c:v>12.89</c:v>
                </c:pt>
                <c:pt idx="7">
                  <c:v>12.88</c:v>
                </c:pt>
                <c:pt idx="8">
                  <c:v>12.9</c:v>
                </c:pt>
                <c:pt idx="9">
                  <c:v>12.93</c:v>
                </c:pt>
                <c:pt idx="10">
                  <c:v>12.99</c:v>
                </c:pt>
                <c:pt idx="11">
                  <c:v>13.05</c:v>
                </c:pt>
                <c:pt idx="12">
                  <c:v>13.129999999999999</c:v>
                </c:pt>
                <c:pt idx="13">
                  <c:v>13.239999999999998</c:v>
                </c:pt>
                <c:pt idx="14">
                  <c:v>13.33</c:v>
                </c:pt>
                <c:pt idx="15">
                  <c:v>13.46</c:v>
                </c:pt>
                <c:pt idx="16">
                  <c:v>13.6</c:v>
                </c:pt>
                <c:pt idx="17">
                  <c:v>13.719999999999999</c:v>
                </c:pt>
                <c:pt idx="18">
                  <c:v>13.83</c:v>
                </c:pt>
                <c:pt idx="19">
                  <c:v>13.98</c:v>
                </c:pt>
                <c:pt idx="20">
                  <c:v>14.139999999999999</c:v>
                </c:pt>
                <c:pt idx="21">
                  <c:v>14.29</c:v>
                </c:pt>
                <c:pt idx="22">
                  <c:v>14.41</c:v>
                </c:pt>
                <c:pt idx="23">
                  <c:v>14.53</c:v>
                </c:pt>
                <c:pt idx="24">
                  <c:v>14.65</c:v>
                </c:pt>
                <c:pt idx="25">
                  <c:v>14.78</c:v>
                </c:pt>
                <c:pt idx="26">
                  <c:v>14.96</c:v>
                </c:pt>
                <c:pt idx="27">
                  <c:v>15.11</c:v>
                </c:pt>
                <c:pt idx="28">
                  <c:v>15.27</c:v>
                </c:pt>
                <c:pt idx="29">
                  <c:v>15.43</c:v>
                </c:pt>
                <c:pt idx="30">
                  <c:v>15.57</c:v>
                </c:pt>
                <c:pt idx="31">
                  <c:v>15.729999999999999</c:v>
                </c:pt>
                <c:pt idx="32">
                  <c:v>15.89</c:v>
                </c:pt>
                <c:pt idx="33">
                  <c:v>16.02</c:v>
                </c:pt>
                <c:pt idx="34">
                  <c:v>16.149999999999999</c:v>
                </c:pt>
                <c:pt idx="35">
                  <c:v>16.329999999999995</c:v>
                </c:pt>
                <c:pt idx="36">
                  <c:v>16.52</c:v>
                </c:pt>
                <c:pt idx="37">
                  <c:v>16.72</c:v>
                </c:pt>
                <c:pt idx="38">
                  <c:v>16.91</c:v>
                </c:pt>
                <c:pt idx="39">
                  <c:v>17.14</c:v>
                </c:pt>
                <c:pt idx="40">
                  <c:v>17.37</c:v>
                </c:pt>
                <c:pt idx="41">
                  <c:v>17.57</c:v>
                </c:pt>
                <c:pt idx="42">
                  <c:v>17.77</c:v>
                </c:pt>
                <c:pt idx="43">
                  <c:v>17.989999999999991</c:v>
                </c:pt>
                <c:pt idx="44">
                  <c:v>18.239999999999995</c:v>
                </c:pt>
                <c:pt idx="45">
                  <c:v>18.479999999999997</c:v>
                </c:pt>
                <c:pt idx="46">
                  <c:v>18.72</c:v>
                </c:pt>
                <c:pt idx="47">
                  <c:v>18.959999999999997</c:v>
                </c:pt>
                <c:pt idx="48">
                  <c:v>19.18</c:v>
                </c:pt>
                <c:pt idx="49">
                  <c:v>19.45</c:v>
                </c:pt>
                <c:pt idx="50">
                  <c:v>19.73</c:v>
                </c:pt>
                <c:pt idx="51">
                  <c:v>20.010000000000005</c:v>
                </c:pt>
                <c:pt idx="52">
                  <c:v>20.27</c:v>
                </c:pt>
                <c:pt idx="53">
                  <c:v>20.479999999999997</c:v>
                </c:pt>
                <c:pt idx="54">
                  <c:v>20.7</c:v>
                </c:pt>
                <c:pt idx="55">
                  <c:v>20.919999999999998</c:v>
                </c:pt>
                <c:pt idx="56">
                  <c:v>21.18</c:v>
                </c:pt>
                <c:pt idx="57">
                  <c:v>21.439999999999998</c:v>
                </c:pt>
                <c:pt idx="58">
                  <c:v>21.73</c:v>
                </c:pt>
                <c:pt idx="59">
                  <c:v>21.97</c:v>
                </c:pt>
                <c:pt idx="60">
                  <c:v>22.19</c:v>
                </c:pt>
                <c:pt idx="61">
                  <c:v>22.459999999999997</c:v>
                </c:pt>
                <c:pt idx="62">
                  <c:v>22.74</c:v>
                </c:pt>
                <c:pt idx="63">
                  <c:v>22.979999999999997</c:v>
                </c:pt>
                <c:pt idx="64">
                  <c:v>23.23</c:v>
                </c:pt>
                <c:pt idx="65">
                  <c:v>23.51</c:v>
                </c:pt>
                <c:pt idx="66">
                  <c:v>23.77</c:v>
                </c:pt>
                <c:pt idx="67">
                  <c:v>24.02</c:v>
                </c:pt>
                <c:pt idx="68">
                  <c:v>24.29</c:v>
                </c:pt>
                <c:pt idx="69">
                  <c:v>24.53</c:v>
                </c:pt>
                <c:pt idx="70">
                  <c:v>24.77</c:v>
                </c:pt>
                <c:pt idx="71">
                  <c:v>25</c:v>
                </c:pt>
                <c:pt idx="72">
                  <c:v>25.23</c:v>
                </c:pt>
                <c:pt idx="73">
                  <c:v>25.47</c:v>
                </c:pt>
                <c:pt idx="74">
                  <c:v>25.72</c:v>
                </c:pt>
                <c:pt idx="75">
                  <c:v>25.959999999999997</c:v>
                </c:pt>
                <c:pt idx="76">
                  <c:v>26.18</c:v>
                </c:pt>
                <c:pt idx="77">
                  <c:v>26.38</c:v>
                </c:pt>
                <c:pt idx="78">
                  <c:v>26.59</c:v>
                </c:pt>
                <c:pt idx="79">
                  <c:v>26.8</c:v>
                </c:pt>
                <c:pt idx="80">
                  <c:v>26.99</c:v>
                </c:pt>
                <c:pt idx="81">
                  <c:v>27.2</c:v>
                </c:pt>
                <c:pt idx="82">
                  <c:v>27.39</c:v>
                </c:pt>
                <c:pt idx="83">
                  <c:v>27.59</c:v>
                </c:pt>
                <c:pt idx="84">
                  <c:v>27.8</c:v>
                </c:pt>
                <c:pt idx="85">
                  <c:v>28.110000000000003</c:v>
                </c:pt>
                <c:pt idx="86">
                  <c:v>28.43</c:v>
                </c:pt>
                <c:pt idx="87">
                  <c:v>28.759999999999998</c:v>
                </c:pt>
                <c:pt idx="88">
                  <c:v>29.04</c:v>
                </c:pt>
                <c:pt idx="89">
                  <c:v>29.330000000000002</c:v>
                </c:pt>
                <c:pt idx="90">
                  <c:v>29.610000000000003</c:v>
                </c:pt>
                <c:pt idx="91">
                  <c:v>29.88</c:v>
                </c:pt>
                <c:pt idx="92">
                  <c:v>30.150000000000002</c:v>
                </c:pt>
                <c:pt idx="93">
                  <c:v>30.419999999999998</c:v>
                </c:pt>
                <c:pt idx="94">
                  <c:v>30.71</c:v>
                </c:pt>
                <c:pt idx="95">
                  <c:v>30.979999999999997</c:v>
                </c:pt>
                <c:pt idx="96">
                  <c:v>31.259999999999998</c:v>
                </c:pt>
                <c:pt idx="97">
                  <c:v>31.54</c:v>
                </c:pt>
                <c:pt idx="98">
                  <c:v>31.810000000000002</c:v>
                </c:pt>
                <c:pt idx="99">
                  <c:v>32.07</c:v>
                </c:pt>
                <c:pt idx="100">
                  <c:v>32.339999999999996</c:v>
                </c:pt>
                <c:pt idx="101">
                  <c:v>32.620000000000005</c:v>
                </c:pt>
                <c:pt idx="102">
                  <c:v>32.910000000000004</c:v>
                </c:pt>
                <c:pt idx="103">
                  <c:v>33.18</c:v>
                </c:pt>
                <c:pt idx="104">
                  <c:v>33.47</c:v>
                </c:pt>
                <c:pt idx="105">
                  <c:v>33.760000000000005</c:v>
                </c:pt>
                <c:pt idx="106">
                  <c:v>34.03</c:v>
                </c:pt>
                <c:pt idx="107">
                  <c:v>34.309999999999995</c:v>
                </c:pt>
                <c:pt idx="108">
                  <c:v>34.590000000000003</c:v>
                </c:pt>
                <c:pt idx="109">
                  <c:v>34.86</c:v>
                </c:pt>
                <c:pt idx="110">
                  <c:v>35.11</c:v>
                </c:pt>
                <c:pt idx="111">
                  <c:v>35.370000000000005</c:v>
                </c:pt>
                <c:pt idx="112">
                  <c:v>35.64</c:v>
                </c:pt>
                <c:pt idx="113">
                  <c:v>35.92</c:v>
                </c:pt>
                <c:pt idx="114">
                  <c:v>36.190000000000005</c:v>
                </c:pt>
                <c:pt idx="115">
                  <c:v>36.44</c:v>
                </c:pt>
                <c:pt idx="116">
                  <c:v>36.71</c:v>
                </c:pt>
                <c:pt idx="117">
                  <c:v>36.980000000000004</c:v>
                </c:pt>
                <c:pt idx="118">
                  <c:v>37.25</c:v>
                </c:pt>
                <c:pt idx="119">
                  <c:v>37.51</c:v>
                </c:pt>
                <c:pt idx="120">
                  <c:v>37.78</c:v>
                </c:pt>
                <c:pt idx="121">
                  <c:v>38.04</c:v>
                </c:pt>
                <c:pt idx="122">
                  <c:v>38.290000000000006</c:v>
                </c:pt>
                <c:pt idx="123">
                  <c:v>38.53</c:v>
                </c:pt>
                <c:pt idx="124">
                  <c:v>38.78</c:v>
                </c:pt>
                <c:pt idx="125">
                  <c:v>39.03</c:v>
                </c:pt>
                <c:pt idx="126">
                  <c:v>39.270000000000003</c:v>
                </c:pt>
                <c:pt idx="127">
                  <c:v>39.5</c:v>
                </c:pt>
                <c:pt idx="128">
                  <c:v>39.730000000000011</c:v>
                </c:pt>
                <c:pt idx="129">
                  <c:v>39.96</c:v>
                </c:pt>
                <c:pt idx="130">
                  <c:v>40.190000000000005</c:v>
                </c:pt>
                <c:pt idx="131">
                  <c:v>40.42</c:v>
                </c:pt>
                <c:pt idx="132">
                  <c:v>40.64</c:v>
                </c:pt>
                <c:pt idx="133">
                  <c:v>40.849999999999994</c:v>
                </c:pt>
                <c:pt idx="134">
                  <c:v>41.06</c:v>
                </c:pt>
                <c:pt idx="135">
                  <c:v>41.260000000000005</c:v>
                </c:pt>
                <c:pt idx="136">
                  <c:v>41.46</c:v>
                </c:pt>
                <c:pt idx="137">
                  <c:v>41.660000000000004</c:v>
                </c:pt>
                <c:pt idx="138">
                  <c:v>41.87</c:v>
                </c:pt>
                <c:pt idx="139">
                  <c:v>42.07</c:v>
                </c:pt>
                <c:pt idx="140">
                  <c:v>42.27</c:v>
                </c:pt>
                <c:pt idx="141">
                  <c:v>42.449999999999996</c:v>
                </c:pt>
                <c:pt idx="142">
                  <c:v>42.63</c:v>
                </c:pt>
                <c:pt idx="143">
                  <c:v>42.809999999999995</c:v>
                </c:pt>
                <c:pt idx="144">
                  <c:v>43.01</c:v>
                </c:pt>
                <c:pt idx="145">
                  <c:v>43.18</c:v>
                </c:pt>
                <c:pt idx="146">
                  <c:v>43.36</c:v>
                </c:pt>
                <c:pt idx="147">
                  <c:v>43.54</c:v>
                </c:pt>
                <c:pt idx="148">
                  <c:v>43.720000000000006</c:v>
                </c:pt>
                <c:pt idx="149">
                  <c:v>43.91</c:v>
                </c:pt>
                <c:pt idx="150">
                  <c:v>44.11</c:v>
                </c:pt>
                <c:pt idx="151">
                  <c:v>44.3</c:v>
                </c:pt>
                <c:pt idx="152">
                  <c:v>44.51</c:v>
                </c:pt>
                <c:pt idx="153">
                  <c:v>44.71</c:v>
                </c:pt>
                <c:pt idx="154">
                  <c:v>44.9</c:v>
                </c:pt>
                <c:pt idx="155">
                  <c:v>45.08</c:v>
                </c:pt>
                <c:pt idx="156">
                  <c:v>45.260000000000005</c:v>
                </c:pt>
                <c:pt idx="157">
                  <c:v>45.46</c:v>
                </c:pt>
                <c:pt idx="158">
                  <c:v>45.63</c:v>
                </c:pt>
                <c:pt idx="159">
                  <c:v>45.809999999999995</c:v>
                </c:pt>
                <c:pt idx="160">
                  <c:v>45.99</c:v>
                </c:pt>
                <c:pt idx="161">
                  <c:v>46.2</c:v>
                </c:pt>
                <c:pt idx="162">
                  <c:v>46.43</c:v>
                </c:pt>
                <c:pt idx="163">
                  <c:v>46.620000000000005</c:v>
                </c:pt>
                <c:pt idx="164">
                  <c:v>46.82</c:v>
                </c:pt>
                <c:pt idx="165">
                  <c:v>47.02</c:v>
                </c:pt>
                <c:pt idx="166">
                  <c:v>47.220000000000006</c:v>
                </c:pt>
                <c:pt idx="167">
                  <c:v>47.41</c:v>
                </c:pt>
                <c:pt idx="168">
                  <c:v>47.61</c:v>
                </c:pt>
                <c:pt idx="169">
                  <c:v>47.809999999999995</c:v>
                </c:pt>
                <c:pt idx="170">
                  <c:v>48.02</c:v>
                </c:pt>
                <c:pt idx="171">
                  <c:v>48.21</c:v>
                </c:pt>
                <c:pt idx="172">
                  <c:v>48.42</c:v>
                </c:pt>
                <c:pt idx="173">
                  <c:v>48.660000000000004</c:v>
                </c:pt>
                <c:pt idx="174">
                  <c:v>48.87</c:v>
                </c:pt>
                <c:pt idx="175">
                  <c:v>49.160000000000004</c:v>
                </c:pt>
                <c:pt idx="176">
                  <c:v>49.44</c:v>
                </c:pt>
                <c:pt idx="177">
                  <c:v>49.74</c:v>
                </c:pt>
                <c:pt idx="178">
                  <c:v>49.96</c:v>
                </c:pt>
                <c:pt idx="179">
                  <c:v>50.14</c:v>
                </c:pt>
                <c:pt idx="180">
                  <c:v>50.32</c:v>
                </c:pt>
                <c:pt idx="181">
                  <c:v>50.46</c:v>
                </c:pt>
                <c:pt idx="182">
                  <c:v>50.53</c:v>
                </c:pt>
                <c:pt idx="183">
                  <c:v>50.59</c:v>
                </c:pt>
                <c:pt idx="184">
                  <c:v>50.67</c:v>
                </c:pt>
                <c:pt idx="185">
                  <c:v>50.82</c:v>
                </c:pt>
                <c:pt idx="186">
                  <c:v>51.120000000000005</c:v>
                </c:pt>
                <c:pt idx="187">
                  <c:v>51.44</c:v>
                </c:pt>
                <c:pt idx="188">
                  <c:v>51.730000000000004</c:v>
                </c:pt>
                <c:pt idx="189">
                  <c:v>52.01</c:v>
                </c:pt>
                <c:pt idx="190">
                  <c:v>52.260000000000005</c:v>
                </c:pt>
                <c:pt idx="191">
                  <c:v>52.49</c:v>
                </c:pt>
                <c:pt idx="192">
                  <c:v>52.730000000000004</c:v>
                </c:pt>
                <c:pt idx="193">
                  <c:v>52.93</c:v>
                </c:pt>
                <c:pt idx="194">
                  <c:v>53.160000000000004</c:v>
                </c:pt>
                <c:pt idx="195">
                  <c:v>53.37</c:v>
                </c:pt>
                <c:pt idx="196">
                  <c:v>53.57</c:v>
                </c:pt>
                <c:pt idx="197">
                  <c:v>53.790000000000006</c:v>
                </c:pt>
                <c:pt idx="198">
                  <c:v>54.01</c:v>
                </c:pt>
                <c:pt idx="199">
                  <c:v>54.25</c:v>
                </c:pt>
                <c:pt idx="200">
                  <c:v>54.48</c:v>
                </c:pt>
                <c:pt idx="201">
                  <c:v>54.71</c:v>
                </c:pt>
                <c:pt idx="202">
                  <c:v>54.92</c:v>
                </c:pt>
                <c:pt idx="203">
                  <c:v>55.160000000000004</c:v>
                </c:pt>
                <c:pt idx="204">
                  <c:v>55.379999999999995</c:v>
                </c:pt>
                <c:pt idx="205">
                  <c:v>55.6</c:v>
                </c:pt>
                <c:pt idx="206">
                  <c:v>55.83</c:v>
                </c:pt>
                <c:pt idx="207">
                  <c:v>56.06</c:v>
                </c:pt>
                <c:pt idx="208">
                  <c:v>56.28</c:v>
                </c:pt>
                <c:pt idx="209">
                  <c:v>56.51</c:v>
                </c:pt>
                <c:pt idx="210">
                  <c:v>56.74</c:v>
                </c:pt>
                <c:pt idx="211">
                  <c:v>56.97</c:v>
                </c:pt>
                <c:pt idx="212">
                  <c:v>57.190000000000005</c:v>
                </c:pt>
                <c:pt idx="213">
                  <c:v>57.4</c:v>
                </c:pt>
                <c:pt idx="214">
                  <c:v>57.61</c:v>
                </c:pt>
                <c:pt idx="215">
                  <c:v>57.809999999999995</c:v>
                </c:pt>
                <c:pt idx="216">
                  <c:v>58.02</c:v>
                </c:pt>
                <c:pt idx="217">
                  <c:v>58.230000000000004</c:v>
                </c:pt>
                <c:pt idx="218">
                  <c:v>58.449999999999996</c:v>
                </c:pt>
                <c:pt idx="219">
                  <c:v>58.67</c:v>
                </c:pt>
                <c:pt idx="220">
                  <c:v>58.879999999999995</c:v>
                </c:pt>
                <c:pt idx="221">
                  <c:v>59.08</c:v>
                </c:pt>
                <c:pt idx="222">
                  <c:v>59.27</c:v>
                </c:pt>
                <c:pt idx="223">
                  <c:v>59.54</c:v>
                </c:pt>
                <c:pt idx="224">
                  <c:v>59.83</c:v>
                </c:pt>
                <c:pt idx="225">
                  <c:v>60.09</c:v>
                </c:pt>
                <c:pt idx="226">
                  <c:v>60.33</c:v>
                </c:pt>
                <c:pt idx="227">
                  <c:v>60.57</c:v>
                </c:pt>
                <c:pt idx="228">
                  <c:v>60.790000000000006</c:v>
                </c:pt>
                <c:pt idx="229">
                  <c:v>61.02</c:v>
                </c:pt>
                <c:pt idx="230">
                  <c:v>61.25</c:v>
                </c:pt>
                <c:pt idx="231">
                  <c:v>61.49</c:v>
                </c:pt>
                <c:pt idx="232">
                  <c:v>61.720000000000006</c:v>
                </c:pt>
                <c:pt idx="233">
                  <c:v>61.94</c:v>
                </c:pt>
                <c:pt idx="234">
                  <c:v>62.160000000000004</c:v>
                </c:pt>
                <c:pt idx="235">
                  <c:v>62.37</c:v>
                </c:pt>
                <c:pt idx="236">
                  <c:v>62.58</c:v>
                </c:pt>
                <c:pt idx="237">
                  <c:v>62.82</c:v>
                </c:pt>
                <c:pt idx="238">
                  <c:v>63.06</c:v>
                </c:pt>
                <c:pt idx="239">
                  <c:v>63.37</c:v>
                </c:pt>
                <c:pt idx="240">
                  <c:v>63.59</c:v>
                </c:pt>
                <c:pt idx="241">
                  <c:v>63.790000000000006</c:v>
                </c:pt>
                <c:pt idx="242">
                  <c:v>63.98</c:v>
                </c:pt>
                <c:pt idx="243">
                  <c:v>64.179999999999993</c:v>
                </c:pt>
                <c:pt idx="244">
                  <c:v>64.36999999999999</c:v>
                </c:pt>
                <c:pt idx="245">
                  <c:v>64.56</c:v>
                </c:pt>
                <c:pt idx="246">
                  <c:v>64.739999999999995</c:v>
                </c:pt>
                <c:pt idx="247">
                  <c:v>64.940000000000012</c:v>
                </c:pt>
                <c:pt idx="248">
                  <c:v>65.16</c:v>
                </c:pt>
                <c:pt idx="249">
                  <c:v>65.34</c:v>
                </c:pt>
                <c:pt idx="250">
                  <c:v>65.56</c:v>
                </c:pt>
                <c:pt idx="251">
                  <c:v>65.75</c:v>
                </c:pt>
                <c:pt idx="252">
                  <c:v>65.940000000000012</c:v>
                </c:pt>
                <c:pt idx="253">
                  <c:v>66.16</c:v>
                </c:pt>
                <c:pt idx="254">
                  <c:v>66.36</c:v>
                </c:pt>
                <c:pt idx="255">
                  <c:v>66.569999999999993</c:v>
                </c:pt>
                <c:pt idx="256">
                  <c:v>66.739999999999995</c:v>
                </c:pt>
                <c:pt idx="257">
                  <c:v>66.940000000000012</c:v>
                </c:pt>
                <c:pt idx="258">
                  <c:v>67.13</c:v>
                </c:pt>
                <c:pt idx="259">
                  <c:v>67.319999999999993</c:v>
                </c:pt>
                <c:pt idx="260">
                  <c:v>67.489999999999995</c:v>
                </c:pt>
                <c:pt idx="261">
                  <c:v>67.66</c:v>
                </c:pt>
                <c:pt idx="262">
                  <c:v>67.83</c:v>
                </c:pt>
                <c:pt idx="263">
                  <c:v>68.03</c:v>
                </c:pt>
                <c:pt idx="264">
                  <c:v>68.19</c:v>
                </c:pt>
                <c:pt idx="265">
                  <c:v>68.36</c:v>
                </c:pt>
                <c:pt idx="266">
                  <c:v>68.53</c:v>
                </c:pt>
                <c:pt idx="267">
                  <c:v>68.709999999999994</c:v>
                </c:pt>
                <c:pt idx="268">
                  <c:v>68.900000000000006</c:v>
                </c:pt>
                <c:pt idx="269">
                  <c:v>69.13</c:v>
                </c:pt>
                <c:pt idx="270">
                  <c:v>69.38</c:v>
                </c:pt>
                <c:pt idx="271">
                  <c:v>69.669999999999987</c:v>
                </c:pt>
                <c:pt idx="272">
                  <c:v>69.959999999999994</c:v>
                </c:pt>
                <c:pt idx="273">
                  <c:v>70.25</c:v>
                </c:pt>
                <c:pt idx="274">
                  <c:v>70.540000000000006</c:v>
                </c:pt>
                <c:pt idx="275">
                  <c:v>70.819999999999993</c:v>
                </c:pt>
                <c:pt idx="276">
                  <c:v>71.08</c:v>
                </c:pt>
                <c:pt idx="277">
                  <c:v>71.31</c:v>
                </c:pt>
                <c:pt idx="278">
                  <c:v>71.52</c:v>
                </c:pt>
                <c:pt idx="279">
                  <c:v>71.679999999999993</c:v>
                </c:pt>
                <c:pt idx="280">
                  <c:v>71.849999999999994</c:v>
                </c:pt>
                <c:pt idx="281">
                  <c:v>72.02</c:v>
                </c:pt>
                <c:pt idx="282">
                  <c:v>72.179999999999993</c:v>
                </c:pt>
                <c:pt idx="283">
                  <c:v>72.33</c:v>
                </c:pt>
                <c:pt idx="284">
                  <c:v>72.47</c:v>
                </c:pt>
                <c:pt idx="285">
                  <c:v>72.599999999999994</c:v>
                </c:pt>
                <c:pt idx="286">
                  <c:v>72.73</c:v>
                </c:pt>
                <c:pt idx="287">
                  <c:v>72.900000000000006</c:v>
                </c:pt>
                <c:pt idx="288">
                  <c:v>73.05</c:v>
                </c:pt>
                <c:pt idx="289">
                  <c:v>73.23</c:v>
                </c:pt>
                <c:pt idx="290">
                  <c:v>73.400000000000006</c:v>
                </c:pt>
                <c:pt idx="291">
                  <c:v>73.56</c:v>
                </c:pt>
                <c:pt idx="292">
                  <c:v>73.69</c:v>
                </c:pt>
                <c:pt idx="293">
                  <c:v>73.84</c:v>
                </c:pt>
                <c:pt idx="294">
                  <c:v>74.010000000000005</c:v>
                </c:pt>
                <c:pt idx="295">
                  <c:v>74.16</c:v>
                </c:pt>
                <c:pt idx="296">
                  <c:v>74.27</c:v>
                </c:pt>
                <c:pt idx="297">
                  <c:v>74.42</c:v>
                </c:pt>
                <c:pt idx="298">
                  <c:v>74.56</c:v>
                </c:pt>
                <c:pt idx="299">
                  <c:v>74.709999999999994</c:v>
                </c:pt>
                <c:pt idx="300">
                  <c:v>74.86</c:v>
                </c:pt>
                <c:pt idx="301">
                  <c:v>75.010000000000005</c:v>
                </c:pt>
                <c:pt idx="302">
                  <c:v>75.169999999999987</c:v>
                </c:pt>
                <c:pt idx="303">
                  <c:v>75.33</c:v>
                </c:pt>
                <c:pt idx="304">
                  <c:v>75.489999999999995</c:v>
                </c:pt>
                <c:pt idx="305">
                  <c:v>75.64</c:v>
                </c:pt>
                <c:pt idx="306">
                  <c:v>75.78</c:v>
                </c:pt>
                <c:pt idx="307">
                  <c:v>75.930000000000007</c:v>
                </c:pt>
                <c:pt idx="308">
                  <c:v>76.09</c:v>
                </c:pt>
                <c:pt idx="309">
                  <c:v>76.27</c:v>
                </c:pt>
                <c:pt idx="310">
                  <c:v>76.39</c:v>
                </c:pt>
                <c:pt idx="311">
                  <c:v>76.58</c:v>
                </c:pt>
                <c:pt idx="312">
                  <c:v>76.75</c:v>
                </c:pt>
                <c:pt idx="313">
                  <c:v>76.910000000000011</c:v>
                </c:pt>
                <c:pt idx="314">
                  <c:v>77.08</c:v>
                </c:pt>
                <c:pt idx="315">
                  <c:v>77.260000000000005</c:v>
                </c:pt>
                <c:pt idx="316">
                  <c:v>77.440000000000012</c:v>
                </c:pt>
                <c:pt idx="317">
                  <c:v>77.61999999999999</c:v>
                </c:pt>
                <c:pt idx="318">
                  <c:v>77.78</c:v>
                </c:pt>
                <c:pt idx="319">
                  <c:v>77.989999999999995</c:v>
                </c:pt>
                <c:pt idx="320">
                  <c:v>78.19</c:v>
                </c:pt>
                <c:pt idx="321">
                  <c:v>78.400000000000006</c:v>
                </c:pt>
                <c:pt idx="322">
                  <c:v>78.61</c:v>
                </c:pt>
                <c:pt idx="323">
                  <c:v>78.8</c:v>
                </c:pt>
                <c:pt idx="324">
                  <c:v>78.98</c:v>
                </c:pt>
                <c:pt idx="325">
                  <c:v>79.179999999999993</c:v>
                </c:pt>
                <c:pt idx="326">
                  <c:v>79.38</c:v>
                </c:pt>
                <c:pt idx="327">
                  <c:v>79.58</c:v>
                </c:pt>
                <c:pt idx="328">
                  <c:v>79.77</c:v>
                </c:pt>
                <c:pt idx="329">
                  <c:v>79.95</c:v>
                </c:pt>
                <c:pt idx="330">
                  <c:v>80.09</c:v>
                </c:pt>
                <c:pt idx="331">
                  <c:v>80.25</c:v>
                </c:pt>
                <c:pt idx="332">
                  <c:v>80.410000000000011</c:v>
                </c:pt>
                <c:pt idx="333">
                  <c:v>80.58</c:v>
                </c:pt>
                <c:pt idx="334">
                  <c:v>80.77</c:v>
                </c:pt>
                <c:pt idx="335">
                  <c:v>80.930000000000007</c:v>
                </c:pt>
                <c:pt idx="336">
                  <c:v>81.11999999999999</c:v>
                </c:pt>
                <c:pt idx="337">
                  <c:v>81.31</c:v>
                </c:pt>
                <c:pt idx="338">
                  <c:v>81.48</c:v>
                </c:pt>
                <c:pt idx="339">
                  <c:v>81.63</c:v>
                </c:pt>
                <c:pt idx="340">
                  <c:v>81.790000000000006</c:v>
                </c:pt>
                <c:pt idx="341">
                  <c:v>81.960000000000008</c:v>
                </c:pt>
                <c:pt idx="342">
                  <c:v>82.11</c:v>
                </c:pt>
                <c:pt idx="343">
                  <c:v>82.240000000000009</c:v>
                </c:pt>
                <c:pt idx="344">
                  <c:v>82.39</c:v>
                </c:pt>
                <c:pt idx="345">
                  <c:v>82.58</c:v>
                </c:pt>
                <c:pt idx="346">
                  <c:v>82.75</c:v>
                </c:pt>
                <c:pt idx="347">
                  <c:v>82.910000000000011</c:v>
                </c:pt>
                <c:pt idx="348">
                  <c:v>83.09</c:v>
                </c:pt>
                <c:pt idx="349">
                  <c:v>83.27</c:v>
                </c:pt>
                <c:pt idx="350">
                  <c:v>83.460000000000008</c:v>
                </c:pt>
                <c:pt idx="351">
                  <c:v>83.61999999999999</c:v>
                </c:pt>
                <c:pt idx="352">
                  <c:v>83.79</c:v>
                </c:pt>
                <c:pt idx="353">
                  <c:v>83.960000000000008</c:v>
                </c:pt>
                <c:pt idx="354">
                  <c:v>84.11999999999999</c:v>
                </c:pt>
                <c:pt idx="355">
                  <c:v>84.29</c:v>
                </c:pt>
                <c:pt idx="356">
                  <c:v>84.47</c:v>
                </c:pt>
                <c:pt idx="357">
                  <c:v>84.63</c:v>
                </c:pt>
                <c:pt idx="358">
                  <c:v>84.81</c:v>
                </c:pt>
                <c:pt idx="359">
                  <c:v>84.97</c:v>
                </c:pt>
                <c:pt idx="360">
                  <c:v>85.13</c:v>
                </c:pt>
                <c:pt idx="361">
                  <c:v>85.31</c:v>
                </c:pt>
                <c:pt idx="362">
                  <c:v>85.490000000000009</c:v>
                </c:pt>
                <c:pt idx="363">
                  <c:v>85.66</c:v>
                </c:pt>
                <c:pt idx="364">
                  <c:v>85.84</c:v>
                </c:pt>
                <c:pt idx="365">
                  <c:v>86.01</c:v>
                </c:pt>
                <c:pt idx="366">
                  <c:v>86.2</c:v>
                </c:pt>
                <c:pt idx="367">
                  <c:v>86.39</c:v>
                </c:pt>
                <c:pt idx="368">
                  <c:v>86.57</c:v>
                </c:pt>
                <c:pt idx="369">
                  <c:v>86.76</c:v>
                </c:pt>
                <c:pt idx="370">
                  <c:v>86.93</c:v>
                </c:pt>
                <c:pt idx="371">
                  <c:v>87.1</c:v>
                </c:pt>
                <c:pt idx="372">
                  <c:v>87.3</c:v>
                </c:pt>
                <c:pt idx="373">
                  <c:v>87.490000000000009</c:v>
                </c:pt>
                <c:pt idx="374">
                  <c:v>87.710000000000008</c:v>
                </c:pt>
                <c:pt idx="375">
                  <c:v>87.92</c:v>
                </c:pt>
                <c:pt idx="376">
                  <c:v>88.14</c:v>
                </c:pt>
                <c:pt idx="377">
                  <c:v>88.38</c:v>
                </c:pt>
                <c:pt idx="378">
                  <c:v>88.61</c:v>
                </c:pt>
                <c:pt idx="379">
                  <c:v>88.82</c:v>
                </c:pt>
                <c:pt idx="380">
                  <c:v>89.06</c:v>
                </c:pt>
                <c:pt idx="381">
                  <c:v>89.26</c:v>
                </c:pt>
                <c:pt idx="382">
                  <c:v>89.47</c:v>
                </c:pt>
                <c:pt idx="383">
                  <c:v>89.69</c:v>
                </c:pt>
                <c:pt idx="384">
                  <c:v>89.95</c:v>
                </c:pt>
                <c:pt idx="385">
                  <c:v>90.210000000000008</c:v>
                </c:pt>
                <c:pt idx="386">
                  <c:v>90.47</c:v>
                </c:pt>
                <c:pt idx="387">
                  <c:v>90.72</c:v>
                </c:pt>
                <c:pt idx="388">
                  <c:v>90.98</c:v>
                </c:pt>
                <c:pt idx="389">
                  <c:v>91.240000000000009</c:v>
                </c:pt>
                <c:pt idx="390">
                  <c:v>91.51</c:v>
                </c:pt>
                <c:pt idx="391">
                  <c:v>91.79</c:v>
                </c:pt>
                <c:pt idx="392">
                  <c:v>92.06</c:v>
                </c:pt>
                <c:pt idx="393">
                  <c:v>92.29</c:v>
                </c:pt>
                <c:pt idx="394">
                  <c:v>92.54</c:v>
                </c:pt>
                <c:pt idx="395">
                  <c:v>92.76</c:v>
                </c:pt>
                <c:pt idx="396">
                  <c:v>92.990000000000009</c:v>
                </c:pt>
                <c:pt idx="397">
                  <c:v>93.240000000000009</c:v>
                </c:pt>
                <c:pt idx="398">
                  <c:v>93.47</c:v>
                </c:pt>
                <c:pt idx="399">
                  <c:v>93.669999999999987</c:v>
                </c:pt>
                <c:pt idx="400">
                  <c:v>93.86999999999999</c:v>
                </c:pt>
                <c:pt idx="401">
                  <c:v>94.08</c:v>
                </c:pt>
                <c:pt idx="402">
                  <c:v>94.29</c:v>
                </c:pt>
                <c:pt idx="403">
                  <c:v>94.47</c:v>
                </c:pt>
                <c:pt idx="404">
                  <c:v>94.679999999999993</c:v>
                </c:pt>
                <c:pt idx="405">
                  <c:v>94.9</c:v>
                </c:pt>
                <c:pt idx="406">
                  <c:v>95.13</c:v>
                </c:pt>
                <c:pt idx="407">
                  <c:v>95.36999999999999</c:v>
                </c:pt>
                <c:pt idx="408">
                  <c:v>95.63</c:v>
                </c:pt>
                <c:pt idx="409">
                  <c:v>95.88</c:v>
                </c:pt>
                <c:pt idx="410">
                  <c:v>96.14</c:v>
                </c:pt>
                <c:pt idx="411">
                  <c:v>96.4</c:v>
                </c:pt>
                <c:pt idx="412">
                  <c:v>96.66</c:v>
                </c:pt>
                <c:pt idx="413">
                  <c:v>96.92</c:v>
                </c:pt>
                <c:pt idx="414">
                  <c:v>97.169999999999987</c:v>
                </c:pt>
                <c:pt idx="415">
                  <c:v>97.410000000000011</c:v>
                </c:pt>
                <c:pt idx="416">
                  <c:v>97.63</c:v>
                </c:pt>
                <c:pt idx="417">
                  <c:v>97.83</c:v>
                </c:pt>
                <c:pt idx="418">
                  <c:v>98.03</c:v>
                </c:pt>
                <c:pt idx="419">
                  <c:v>98.22</c:v>
                </c:pt>
                <c:pt idx="420">
                  <c:v>98.410000000000011</c:v>
                </c:pt>
                <c:pt idx="421">
                  <c:v>98.59</c:v>
                </c:pt>
                <c:pt idx="422">
                  <c:v>98.77</c:v>
                </c:pt>
                <c:pt idx="423">
                  <c:v>98.940000000000012</c:v>
                </c:pt>
                <c:pt idx="424">
                  <c:v>99.14</c:v>
                </c:pt>
                <c:pt idx="425">
                  <c:v>99.35</c:v>
                </c:pt>
                <c:pt idx="426">
                  <c:v>99.55</c:v>
                </c:pt>
                <c:pt idx="427">
                  <c:v>99.740000000000009</c:v>
                </c:pt>
                <c:pt idx="428">
                  <c:v>99.92</c:v>
                </c:pt>
                <c:pt idx="429">
                  <c:v>100.11</c:v>
                </c:pt>
                <c:pt idx="430">
                  <c:v>100.3</c:v>
                </c:pt>
                <c:pt idx="431">
                  <c:v>100.48</c:v>
                </c:pt>
                <c:pt idx="432">
                  <c:v>100.66999999999999</c:v>
                </c:pt>
                <c:pt idx="433">
                  <c:v>100.88</c:v>
                </c:pt>
                <c:pt idx="434">
                  <c:v>101.09</c:v>
                </c:pt>
                <c:pt idx="435">
                  <c:v>101.36</c:v>
                </c:pt>
                <c:pt idx="436">
                  <c:v>101.61</c:v>
                </c:pt>
                <c:pt idx="437">
                  <c:v>101.86999999999999</c:v>
                </c:pt>
                <c:pt idx="438">
                  <c:v>102.14999999999999</c:v>
                </c:pt>
                <c:pt idx="439">
                  <c:v>102.42</c:v>
                </c:pt>
                <c:pt idx="440">
                  <c:v>102.71000000000001</c:v>
                </c:pt>
                <c:pt idx="441">
                  <c:v>103</c:v>
                </c:pt>
                <c:pt idx="442">
                  <c:v>103.29</c:v>
                </c:pt>
                <c:pt idx="443">
                  <c:v>103.61999999999999</c:v>
                </c:pt>
                <c:pt idx="444">
                  <c:v>103.94000000000001</c:v>
                </c:pt>
                <c:pt idx="445">
                  <c:v>104.28</c:v>
                </c:pt>
                <c:pt idx="446">
                  <c:v>104.64999999999999</c:v>
                </c:pt>
                <c:pt idx="447">
                  <c:v>104.96000000000001</c:v>
                </c:pt>
                <c:pt idx="448">
                  <c:v>105.28</c:v>
                </c:pt>
                <c:pt idx="449">
                  <c:v>105.61</c:v>
                </c:pt>
                <c:pt idx="450">
                  <c:v>105.94000000000001</c:v>
                </c:pt>
                <c:pt idx="451">
                  <c:v>106.26</c:v>
                </c:pt>
                <c:pt idx="452">
                  <c:v>106.59</c:v>
                </c:pt>
                <c:pt idx="453">
                  <c:v>106.92</c:v>
                </c:pt>
                <c:pt idx="454">
                  <c:v>107.24000000000001</c:v>
                </c:pt>
                <c:pt idx="455">
                  <c:v>107.58</c:v>
                </c:pt>
                <c:pt idx="456">
                  <c:v>107.91000000000001</c:v>
                </c:pt>
                <c:pt idx="457">
                  <c:v>108.26</c:v>
                </c:pt>
                <c:pt idx="458">
                  <c:v>108.6</c:v>
                </c:pt>
                <c:pt idx="459">
                  <c:v>108.96000000000001</c:v>
                </c:pt>
                <c:pt idx="460">
                  <c:v>109.33</c:v>
                </c:pt>
                <c:pt idx="461">
                  <c:v>109.67999999999999</c:v>
                </c:pt>
                <c:pt idx="462">
                  <c:v>110.04</c:v>
                </c:pt>
                <c:pt idx="463">
                  <c:v>110.36</c:v>
                </c:pt>
                <c:pt idx="464">
                  <c:v>110.66999999999999</c:v>
                </c:pt>
                <c:pt idx="465">
                  <c:v>110.97</c:v>
                </c:pt>
                <c:pt idx="466">
                  <c:v>111.27</c:v>
                </c:pt>
                <c:pt idx="467">
                  <c:v>111.58</c:v>
                </c:pt>
                <c:pt idx="468">
                  <c:v>111.86999999999999</c:v>
                </c:pt>
                <c:pt idx="469">
                  <c:v>112.19</c:v>
                </c:pt>
                <c:pt idx="470">
                  <c:v>112.46000000000001</c:v>
                </c:pt>
                <c:pt idx="471">
                  <c:v>112.71000000000001</c:v>
                </c:pt>
                <c:pt idx="472">
                  <c:v>112.97</c:v>
                </c:pt>
                <c:pt idx="473">
                  <c:v>113.21000000000001</c:v>
                </c:pt>
                <c:pt idx="474">
                  <c:v>113.44000000000001</c:v>
                </c:pt>
                <c:pt idx="475">
                  <c:v>113.64999999999999</c:v>
                </c:pt>
                <c:pt idx="476">
                  <c:v>113.92</c:v>
                </c:pt>
                <c:pt idx="477">
                  <c:v>114.17999999999999</c:v>
                </c:pt>
                <c:pt idx="478">
                  <c:v>114.44000000000001</c:v>
                </c:pt>
                <c:pt idx="479">
                  <c:v>114.69</c:v>
                </c:pt>
                <c:pt idx="480">
                  <c:v>114.96000000000001</c:v>
                </c:pt>
                <c:pt idx="481">
                  <c:v>115.17999999999999</c:v>
                </c:pt>
                <c:pt idx="482">
                  <c:v>115.36</c:v>
                </c:pt>
                <c:pt idx="483">
                  <c:v>115.52</c:v>
                </c:pt>
                <c:pt idx="484">
                  <c:v>115.72</c:v>
                </c:pt>
                <c:pt idx="485">
                  <c:v>115.93</c:v>
                </c:pt>
                <c:pt idx="486">
                  <c:v>116.13</c:v>
                </c:pt>
                <c:pt idx="487">
                  <c:v>116.33</c:v>
                </c:pt>
                <c:pt idx="488">
                  <c:v>116.54</c:v>
                </c:pt>
                <c:pt idx="489">
                  <c:v>116.74000000000001</c:v>
                </c:pt>
                <c:pt idx="490">
                  <c:v>116.96000000000001</c:v>
                </c:pt>
                <c:pt idx="491">
                  <c:v>117.16999999999999</c:v>
                </c:pt>
                <c:pt idx="492">
                  <c:v>117.36999999999999</c:v>
                </c:pt>
                <c:pt idx="493">
                  <c:v>117.59</c:v>
                </c:pt>
                <c:pt idx="494">
                  <c:v>117.78</c:v>
                </c:pt>
                <c:pt idx="495">
                  <c:v>117.99000000000001</c:v>
                </c:pt>
                <c:pt idx="496">
                  <c:v>118.19</c:v>
                </c:pt>
                <c:pt idx="497">
                  <c:v>118.36999999999999</c:v>
                </c:pt>
                <c:pt idx="498">
                  <c:v>118.54</c:v>
                </c:pt>
                <c:pt idx="499">
                  <c:v>118.71000000000001</c:v>
                </c:pt>
                <c:pt idx="500">
                  <c:v>118.9</c:v>
                </c:pt>
                <c:pt idx="501">
                  <c:v>119.09</c:v>
                </c:pt>
                <c:pt idx="502">
                  <c:v>119.3</c:v>
                </c:pt>
                <c:pt idx="503">
                  <c:v>119.5</c:v>
                </c:pt>
                <c:pt idx="504">
                  <c:v>119.7</c:v>
                </c:pt>
                <c:pt idx="505">
                  <c:v>119.86</c:v>
                </c:pt>
                <c:pt idx="506">
                  <c:v>120.08</c:v>
                </c:pt>
                <c:pt idx="507">
                  <c:v>120.28</c:v>
                </c:pt>
                <c:pt idx="508">
                  <c:v>120.49000000000001</c:v>
                </c:pt>
                <c:pt idx="509">
                  <c:v>120.73</c:v>
                </c:pt>
                <c:pt idx="510">
                  <c:v>120.97</c:v>
                </c:pt>
                <c:pt idx="511">
                  <c:v>121.17999999999999</c:v>
                </c:pt>
                <c:pt idx="512">
                  <c:v>121.36</c:v>
                </c:pt>
                <c:pt idx="513">
                  <c:v>121.55</c:v>
                </c:pt>
                <c:pt idx="514">
                  <c:v>121.73</c:v>
                </c:pt>
                <c:pt idx="515">
                  <c:v>121.91000000000001</c:v>
                </c:pt>
                <c:pt idx="516">
                  <c:v>122.08</c:v>
                </c:pt>
                <c:pt idx="517">
                  <c:v>122.26</c:v>
                </c:pt>
                <c:pt idx="518">
                  <c:v>122.42</c:v>
                </c:pt>
                <c:pt idx="519">
                  <c:v>122.61999999999999</c:v>
                </c:pt>
                <c:pt idx="520">
                  <c:v>122.83</c:v>
                </c:pt>
                <c:pt idx="521">
                  <c:v>123.06</c:v>
                </c:pt>
                <c:pt idx="522">
                  <c:v>123.25</c:v>
                </c:pt>
                <c:pt idx="523">
                  <c:v>123.44000000000001</c:v>
                </c:pt>
                <c:pt idx="524">
                  <c:v>123.66</c:v>
                </c:pt>
                <c:pt idx="525">
                  <c:v>123.86999999999999</c:v>
                </c:pt>
                <c:pt idx="526">
                  <c:v>124.06</c:v>
                </c:pt>
                <c:pt idx="527">
                  <c:v>124.26</c:v>
                </c:pt>
                <c:pt idx="528">
                  <c:v>124.45</c:v>
                </c:pt>
                <c:pt idx="529">
                  <c:v>124.64</c:v>
                </c:pt>
                <c:pt idx="530">
                  <c:v>124.83</c:v>
                </c:pt>
                <c:pt idx="531">
                  <c:v>125.04</c:v>
                </c:pt>
                <c:pt idx="532">
                  <c:v>125.24000000000001</c:v>
                </c:pt>
                <c:pt idx="533">
                  <c:v>125.52</c:v>
                </c:pt>
                <c:pt idx="534">
                  <c:v>125.77</c:v>
                </c:pt>
                <c:pt idx="535">
                  <c:v>126.02</c:v>
                </c:pt>
                <c:pt idx="536">
                  <c:v>126.27</c:v>
                </c:pt>
                <c:pt idx="537">
                  <c:v>126.51</c:v>
                </c:pt>
                <c:pt idx="538">
                  <c:v>126.74000000000001</c:v>
                </c:pt>
                <c:pt idx="539">
                  <c:v>126.96000000000001</c:v>
                </c:pt>
                <c:pt idx="540">
                  <c:v>127.14999999999999</c:v>
                </c:pt>
                <c:pt idx="541">
                  <c:v>127.3</c:v>
                </c:pt>
                <c:pt idx="542">
                  <c:v>127.44000000000001</c:v>
                </c:pt>
                <c:pt idx="543">
                  <c:v>127.6</c:v>
                </c:pt>
                <c:pt idx="544">
                  <c:v>127.79</c:v>
                </c:pt>
                <c:pt idx="545">
                  <c:v>127.98</c:v>
                </c:pt>
                <c:pt idx="546">
                  <c:v>128.18</c:v>
                </c:pt>
                <c:pt idx="547">
                  <c:v>128.38000000000002</c:v>
                </c:pt>
                <c:pt idx="548">
                  <c:v>128.59</c:v>
                </c:pt>
                <c:pt idx="549">
                  <c:v>128.78</c:v>
                </c:pt>
                <c:pt idx="550">
                  <c:v>128.96</c:v>
                </c:pt>
                <c:pt idx="551">
                  <c:v>129.12</c:v>
                </c:pt>
                <c:pt idx="552">
                  <c:v>129.37</c:v>
                </c:pt>
                <c:pt idx="553">
                  <c:v>129.57</c:v>
                </c:pt>
                <c:pt idx="554">
                  <c:v>129.72999999999999</c:v>
                </c:pt>
                <c:pt idx="555">
                  <c:v>129.93</c:v>
                </c:pt>
                <c:pt idx="556">
                  <c:v>130.10999999999999</c:v>
                </c:pt>
                <c:pt idx="557">
                  <c:v>130.22</c:v>
                </c:pt>
                <c:pt idx="558">
                  <c:v>130.38000000000002</c:v>
                </c:pt>
                <c:pt idx="559">
                  <c:v>130.5</c:v>
                </c:pt>
                <c:pt idx="560">
                  <c:v>130.66999999999999</c:v>
                </c:pt>
                <c:pt idx="561">
                  <c:v>130.76999999999998</c:v>
                </c:pt>
                <c:pt idx="562">
                  <c:v>130.96</c:v>
                </c:pt>
                <c:pt idx="563">
                  <c:v>131.09</c:v>
                </c:pt>
                <c:pt idx="564">
                  <c:v>131.22</c:v>
                </c:pt>
                <c:pt idx="565">
                  <c:v>131.35000000000002</c:v>
                </c:pt>
                <c:pt idx="566">
                  <c:v>131.47999999999999</c:v>
                </c:pt>
                <c:pt idx="567">
                  <c:v>131.6</c:v>
                </c:pt>
                <c:pt idx="568">
                  <c:v>131.72999999999999</c:v>
                </c:pt>
                <c:pt idx="569">
                  <c:v>131.84</c:v>
                </c:pt>
                <c:pt idx="570">
                  <c:v>131.94999999999999</c:v>
                </c:pt>
                <c:pt idx="571">
                  <c:v>132.03</c:v>
                </c:pt>
                <c:pt idx="572">
                  <c:v>132.13</c:v>
                </c:pt>
                <c:pt idx="573">
                  <c:v>132.20999999999998</c:v>
                </c:pt>
                <c:pt idx="574">
                  <c:v>132.31</c:v>
                </c:pt>
                <c:pt idx="575">
                  <c:v>132.4</c:v>
                </c:pt>
                <c:pt idx="576">
                  <c:v>132.46</c:v>
                </c:pt>
                <c:pt idx="577">
                  <c:v>132.51</c:v>
                </c:pt>
                <c:pt idx="578">
                  <c:v>132.53</c:v>
                </c:pt>
                <c:pt idx="579">
                  <c:v>132.60999999999999</c:v>
                </c:pt>
                <c:pt idx="580">
                  <c:v>132.69999999999999</c:v>
                </c:pt>
                <c:pt idx="581">
                  <c:v>132.72</c:v>
                </c:pt>
                <c:pt idx="582">
                  <c:v>132.76</c:v>
                </c:pt>
                <c:pt idx="583">
                  <c:v>132.88000000000002</c:v>
                </c:pt>
                <c:pt idx="584">
                  <c:v>132.84</c:v>
                </c:pt>
                <c:pt idx="585">
                  <c:v>132.89000000000001</c:v>
                </c:pt>
                <c:pt idx="586">
                  <c:v>132.91999999999999</c:v>
                </c:pt>
                <c:pt idx="587">
                  <c:v>132.93</c:v>
                </c:pt>
                <c:pt idx="588">
                  <c:v>132.93</c:v>
                </c:pt>
                <c:pt idx="589">
                  <c:v>132.94999999999999</c:v>
                </c:pt>
                <c:pt idx="590">
                  <c:v>132.91</c:v>
                </c:pt>
                <c:pt idx="591">
                  <c:v>132.91999999999999</c:v>
                </c:pt>
                <c:pt idx="592">
                  <c:v>132.94</c:v>
                </c:pt>
                <c:pt idx="593">
                  <c:v>132.91</c:v>
                </c:pt>
                <c:pt idx="594">
                  <c:v>132.87</c:v>
                </c:pt>
                <c:pt idx="595">
                  <c:v>132.86000000000001</c:v>
                </c:pt>
                <c:pt idx="596">
                  <c:v>132.85000000000002</c:v>
                </c:pt>
                <c:pt idx="597">
                  <c:v>132.83000000000001</c:v>
                </c:pt>
                <c:pt idx="598">
                  <c:v>132.84</c:v>
                </c:pt>
                <c:pt idx="599">
                  <c:v>132.83000000000001</c:v>
                </c:pt>
                <c:pt idx="600">
                  <c:v>132.82000000000002</c:v>
                </c:pt>
                <c:pt idx="601">
                  <c:v>132.83000000000001</c:v>
                </c:pt>
                <c:pt idx="602">
                  <c:v>132.86000000000001</c:v>
                </c:pt>
                <c:pt idx="603">
                  <c:v>132.85000000000002</c:v>
                </c:pt>
                <c:pt idx="604">
                  <c:v>132.86000000000001</c:v>
                </c:pt>
                <c:pt idx="605">
                  <c:v>132.84</c:v>
                </c:pt>
                <c:pt idx="606">
                  <c:v>132.86000000000001</c:v>
                </c:pt>
                <c:pt idx="607">
                  <c:v>132.86000000000001</c:v>
                </c:pt>
                <c:pt idx="608">
                  <c:v>132.84</c:v>
                </c:pt>
                <c:pt idx="609">
                  <c:v>132.83000000000001</c:v>
                </c:pt>
                <c:pt idx="610">
                  <c:v>132.79</c:v>
                </c:pt>
                <c:pt idx="611">
                  <c:v>132.83000000000001</c:v>
                </c:pt>
                <c:pt idx="612">
                  <c:v>132.82000000000002</c:v>
                </c:pt>
                <c:pt idx="613">
                  <c:v>132.82000000000002</c:v>
                </c:pt>
                <c:pt idx="614">
                  <c:v>132.83000000000001</c:v>
                </c:pt>
                <c:pt idx="615">
                  <c:v>132.79</c:v>
                </c:pt>
                <c:pt idx="616">
                  <c:v>132.83000000000001</c:v>
                </c:pt>
                <c:pt idx="617">
                  <c:v>132.81</c:v>
                </c:pt>
                <c:pt idx="618">
                  <c:v>132.83000000000001</c:v>
                </c:pt>
                <c:pt idx="619">
                  <c:v>132.83000000000001</c:v>
                </c:pt>
                <c:pt idx="620">
                  <c:v>132.84</c:v>
                </c:pt>
                <c:pt idx="621">
                  <c:v>132.85000000000002</c:v>
                </c:pt>
                <c:pt idx="622">
                  <c:v>132.88000000000002</c:v>
                </c:pt>
                <c:pt idx="623">
                  <c:v>132.88000000000002</c:v>
                </c:pt>
                <c:pt idx="624">
                  <c:v>132.91999999999999</c:v>
                </c:pt>
                <c:pt idx="625">
                  <c:v>132.93</c:v>
                </c:pt>
                <c:pt idx="626">
                  <c:v>132.96</c:v>
                </c:pt>
                <c:pt idx="627">
                  <c:v>133.02000000000001</c:v>
                </c:pt>
                <c:pt idx="628">
                  <c:v>133.22</c:v>
                </c:pt>
                <c:pt idx="629">
                  <c:v>133.26999999999998</c:v>
                </c:pt>
                <c:pt idx="630">
                  <c:v>133.33000000000001</c:v>
                </c:pt>
                <c:pt idx="631">
                  <c:v>133.38000000000002</c:v>
                </c:pt>
                <c:pt idx="632">
                  <c:v>133.75</c:v>
                </c:pt>
                <c:pt idx="633">
                  <c:v>134.06</c:v>
                </c:pt>
                <c:pt idx="634">
                  <c:v>134.10999999999999</c:v>
                </c:pt>
                <c:pt idx="635">
                  <c:v>134.12</c:v>
                </c:pt>
              </c:numCache>
            </c:numRef>
          </c:xVal>
          <c:yVal>
            <c:numRef>
              <c:f>Temperatur!$A$2:$A$637</c:f>
              <c:numCache>
                <c:formatCode>General</c:formatCode>
                <c:ptCount val="636"/>
                <c:pt idx="0">
                  <c:v>-5.0999999999999996</c:v>
                </c:pt>
                <c:pt idx="1">
                  <c:v>-9.1</c:v>
                </c:pt>
                <c:pt idx="2">
                  <c:v>-13</c:v>
                </c:pt>
                <c:pt idx="3">
                  <c:v>-16.899999999999999</c:v>
                </c:pt>
                <c:pt idx="4">
                  <c:v>-20.8</c:v>
                </c:pt>
                <c:pt idx="5">
                  <c:v>-24.7</c:v>
                </c:pt>
                <c:pt idx="6">
                  <c:v>-28.6</c:v>
                </c:pt>
                <c:pt idx="7">
                  <c:v>-32.5</c:v>
                </c:pt>
                <c:pt idx="8">
                  <c:v>-36.4</c:v>
                </c:pt>
                <c:pt idx="9">
                  <c:v>-40.300000000000011</c:v>
                </c:pt>
                <c:pt idx="10">
                  <c:v>-44.2</c:v>
                </c:pt>
                <c:pt idx="11">
                  <c:v>-48.1</c:v>
                </c:pt>
                <c:pt idx="12">
                  <c:v>-51.9</c:v>
                </c:pt>
                <c:pt idx="13">
                  <c:v>-55.8</c:v>
                </c:pt>
                <c:pt idx="14">
                  <c:v>-59.7</c:v>
                </c:pt>
                <c:pt idx="15">
                  <c:v>-63.6</c:v>
                </c:pt>
                <c:pt idx="16">
                  <c:v>-67.5</c:v>
                </c:pt>
                <c:pt idx="17">
                  <c:v>-71.400000000000006</c:v>
                </c:pt>
                <c:pt idx="18">
                  <c:v>-75.3</c:v>
                </c:pt>
                <c:pt idx="19">
                  <c:v>-79.2</c:v>
                </c:pt>
                <c:pt idx="20">
                  <c:v>-83.1</c:v>
                </c:pt>
                <c:pt idx="21">
                  <c:v>-87</c:v>
                </c:pt>
                <c:pt idx="22">
                  <c:v>-90.9</c:v>
                </c:pt>
                <c:pt idx="23">
                  <c:v>-94.8</c:v>
                </c:pt>
                <c:pt idx="24">
                  <c:v>-98.7</c:v>
                </c:pt>
                <c:pt idx="25">
                  <c:v>-102.6</c:v>
                </c:pt>
                <c:pt idx="26">
                  <c:v>-106.5</c:v>
                </c:pt>
                <c:pt idx="27">
                  <c:v>-110.4</c:v>
                </c:pt>
                <c:pt idx="28">
                  <c:v>-114.3</c:v>
                </c:pt>
                <c:pt idx="29">
                  <c:v>-118.2</c:v>
                </c:pt>
                <c:pt idx="30">
                  <c:v>-122.1</c:v>
                </c:pt>
                <c:pt idx="31">
                  <c:v>-126</c:v>
                </c:pt>
                <c:pt idx="32">
                  <c:v>-129.80000000000001</c:v>
                </c:pt>
                <c:pt idx="33">
                  <c:v>-133.69999999999999</c:v>
                </c:pt>
                <c:pt idx="34">
                  <c:v>-137.6</c:v>
                </c:pt>
                <c:pt idx="35">
                  <c:v>-141.5</c:v>
                </c:pt>
                <c:pt idx="36">
                  <c:v>-145.4</c:v>
                </c:pt>
                <c:pt idx="37">
                  <c:v>-149.30000000000001</c:v>
                </c:pt>
                <c:pt idx="38">
                  <c:v>-153.19999999999999</c:v>
                </c:pt>
                <c:pt idx="39">
                  <c:v>-157.1</c:v>
                </c:pt>
                <c:pt idx="40">
                  <c:v>-161</c:v>
                </c:pt>
                <c:pt idx="41">
                  <c:v>-164.9</c:v>
                </c:pt>
                <c:pt idx="42">
                  <c:v>-168.8</c:v>
                </c:pt>
                <c:pt idx="43">
                  <c:v>-172.7</c:v>
                </c:pt>
                <c:pt idx="44">
                  <c:v>-176.6</c:v>
                </c:pt>
                <c:pt idx="45">
                  <c:v>-180.5</c:v>
                </c:pt>
                <c:pt idx="46">
                  <c:v>-184.4</c:v>
                </c:pt>
                <c:pt idx="47">
                  <c:v>-188.3</c:v>
                </c:pt>
                <c:pt idx="48">
                  <c:v>-192.2</c:v>
                </c:pt>
                <c:pt idx="49">
                  <c:v>-196.1</c:v>
                </c:pt>
                <c:pt idx="50">
                  <c:v>-200</c:v>
                </c:pt>
                <c:pt idx="51">
                  <c:v>-203.9</c:v>
                </c:pt>
                <c:pt idx="52">
                  <c:v>-207.7</c:v>
                </c:pt>
                <c:pt idx="53">
                  <c:v>-211.6</c:v>
                </c:pt>
                <c:pt idx="54">
                  <c:v>-215.5</c:v>
                </c:pt>
                <c:pt idx="55">
                  <c:v>-219.4</c:v>
                </c:pt>
                <c:pt idx="56">
                  <c:v>-223.3</c:v>
                </c:pt>
                <c:pt idx="57">
                  <c:v>-227.2</c:v>
                </c:pt>
                <c:pt idx="58">
                  <c:v>-231.1</c:v>
                </c:pt>
                <c:pt idx="59">
                  <c:v>-235</c:v>
                </c:pt>
                <c:pt idx="60">
                  <c:v>-238.9</c:v>
                </c:pt>
                <c:pt idx="61">
                  <c:v>-242.8</c:v>
                </c:pt>
                <c:pt idx="62">
                  <c:v>-246.7</c:v>
                </c:pt>
                <c:pt idx="63">
                  <c:v>-250.6</c:v>
                </c:pt>
                <c:pt idx="64">
                  <c:v>-254.5</c:v>
                </c:pt>
                <c:pt idx="65">
                  <c:v>-258.39999999999992</c:v>
                </c:pt>
                <c:pt idx="66">
                  <c:v>-262.3</c:v>
                </c:pt>
                <c:pt idx="67">
                  <c:v>-266.2</c:v>
                </c:pt>
                <c:pt idx="68">
                  <c:v>-270.10000000000002</c:v>
                </c:pt>
                <c:pt idx="69">
                  <c:v>-274</c:v>
                </c:pt>
                <c:pt idx="70">
                  <c:v>-277.89999999999992</c:v>
                </c:pt>
                <c:pt idx="71">
                  <c:v>-281.8</c:v>
                </c:pt>
                <c:pt idx="72">
                  <c:v>-285.60000000000002</c:v>
                </c:pt>
                <c:pt idx="73">
                  <c:v>-289.5</c:v>
                </c:pt>
                <c:pt idx="74">
                  <c:v>-293.39999999999992</c:v>
                </c:pt>
                <c:pt idx="75">
                  <c:v>-297.3</c:v>
                </c:pt>
                <c:pt idx="76">
                  <c:v>-301.2</c:v>
                </c:pt>
                <c:pt idx="77">
                  <c:v>-305.10000000000002</c:v>
                </c:pt>
                <c:pt idx="78">
                  <c:v>-309</c:v>
                </c:pt>
                <c:pt idx="79">
                  <c:v>-312.89999999999992</c:v>
                </c:pt>
                <c:pt idx="80">
                  <c:v>-316.8</c:v>
                </c:pt>
                <c:pt idx="81">
                  <c:v>-320.7</c:v>
                </c:pt>
                <c:pt idx="82">
                  <c:v>-324.60000000000002</c:v>
                </c:pt>
                <c:pt idx="83">
                  <c:v>-328.5</c:v>
                </c:pt>
                <c:pt idx="84">
                  <c:v>-332.4</c:v>
                </c:pt>
                <c:pt idx="85">
                  <c:v>-336.3</c:v>
                </c:pt>
                <c:pt idx="86">
                  <c:v>-340.2</c:v>
                </c:pt>
                <c:pt idx="87">
                  <c:v>-344.1</c:v>
                </c:pt>
                <c:pt idx="88">
                  <c:v>-348</c:v>
                </c:pt>
                <c:pt idx="89">
                  <c:v>-351.9</c:v>
                </c:pt>
                <c:pt idx="90">
                  <c:v>-355.8</c:v>
                </c:pt>
                <c:pt idx="91">
                  <c:v>-359.7</c:v>
                </c:pt>
                <c:pt idx="92">
                  <c:v>-363.5</c:v>
                </c:pt>
                <c:pt idx="93">
                  <c:v>-367.4</c:v>
                </c:pt>
                <c:pt idx="94">
                  <c:v>-371.3</c:v>
                </c:pt>
                <c:pt idx="95">
                  <c:v>-375.2</c:v>
                </c:pt>
                <c:pt idx="96">
                  <c:v>-379.1</c:v>
                </c:pt>
                <c:pt idx="97">
                  <c:v>-383</c:v>
                </c:pt>
                <c:pt idx="98">
                  <c:v>-386.9</c:v>
                </c:pt>
                <c:pt idx="99">
                  <c:v>-390.8</c:v>
                </c:pt>
                <c:pt idx="100">
                  <c:v>-394.7</c:v>
                </c:pt>
                <c:pt idx="101">
                  <c:v>-398.6</c:v>
                </c:pt>
                <c:pt idx="102">
                  <c:v>-402.5</c:v>
                </c:pt>
                <c:pt idx="103">
                  <c:v>-406.4</c:v>
                </c:pt>
                <c:pt idx="104">
                  <c:v>-410.3</c:v>
                </c:pt>
                <c:pt idx="105">
                  <c:v>-414.2</c:v>
                </c:pt>
                <c:pt idx="106">
                  <c:v>-418.1</c:v>
                </c:pt>
                <c:pt idx="107">
                  <c:v>-422</c:v>
                </c:pt>
                <c:pt idx="108">
                  <c:v>-425.9</c:v>
                </c:pt>
                <c:pt idx="109">
                  <c:v>-429.8</c:v>
                </c:pt>
                <c:pt idx="110">
                  <c:v>-433.7</c:v>
                </c:pt>
                <c:pt idx="111">
                  <c:v>-437.6</c:v>
                </c:pt>
                <c:pt idx="112">
                  <c:v>-441.4</c:v>
                </c:pt>
                <c:pt idx="113">
                  <c:v>-445.3</c:v>
                </c:pt>
                <c:pt idx="114">
                  <c:v>-449.2</c:v>
                </c:pt>
                <c:pt idx="115">
                  <c:v>-453.1</c:v>
                </c:pt>
                <c:pt idx="116">
                  <c:v>-457</c:v>
                </c:pt>
                <c:pt idx="117">
                  <c:v>-460.9</c:v>
                </c:pt>
                <c:pt idx="118">
                  <c:v>-464.8</c:v>
                </c:pt>
                <c:pt idx="119">
                  <c:v>-468.7</c:v>
                </c:pt>
                <c:pt idx="120">
                  <c:v>-472.6</c:v>
                </c:pt>
                <c:pt idx="121">
                  <c:v>-476.5</c:v>
                </c:pt>
                <c:pt idx="122">
                  <c:v>-480.4</c:v>
                </c:pt>
                <c:pt idx="123">
                  <c:v>-484.3</c:v>
                </c:pt>
                <c:pt idx="124">
                  <c:v>-488.2</c:v>
                </c:pt>
                <c:pt idx="125">
                  <c:v>-492.1</c:v>
                </c:pt>
                <c:pt idx="126">
                  <c:v>-496</c:v>
                </c:pt>
                <c:pt idx="127">
                  <c:v>-499.9</c:v>
                </c:pt>
                <c:pt idx="128">
                  <c:v>-503.8</c:v>
                </c:pt>
                <c:pt idx="129">
                  <c:v>-507.7</c:v>
                </c:pt>
                <c:pt idx="130">
                  <c:v>-511.6</c:v>
                </c:pt>
                <c:pt idx="131">
                  <c:v>-515.5</c:v>
                </c:pt>
                <c:pt idx="132">
                  <c:v>-519.29999999999995</c:v>
                </c:pt>
                <c:pt idx="133">
                  <c:v>-523.20000000000005</c:v>
                </c:pt>
                <c:pt idx="134">
                  <c:v>-527.1</c:v>
                </c:pt>
                <c:pt idx="135">
                  <c:v>-531</c:v>
                </c:pt>
                <c:pt idx="136">
                  <c:v>-534.9</c:v>
                </c:pt>
                <c:pt idx="137">
                  <c:v>-538.79999999999995</c:v>
                </c:pt>
                <c:pt idx="138">
                  <c:v>-542.70000000000005</c:v>
                </c:pt>
                <c:pt idx="139">
                  <c:v>-546.6</c:v>
                </c:pt>
                <c:pt idx="140">
                  <c:v>-550.5</c:v>
                </c:pt>
                <c:pt idx="141">
                  <c:v>-554.4</c:v>
                </c:pt>
                <c:pt idx="142">
                  <c:v>-558.29999999999995</c:v>
                </c:pt>
                <c:pt idx="143">
                  <c:v>-562.20000000000005</c:v>
                </c:pt>
                <c:pt idx="144">
                  <c:v>-566.1</c:v>
                </c:pt>
                <c:pt idx="145">
                  <c:v>-570</c:v>
                </c:pt>
                <c:pt idx="146">
                  <c:v>-573.9</c:v>
                </c:pt>
                <c:pt idx="147">
                  <c:v>-577.79999999999995</c:v>
                </c:pt>
                <c:pt idx="148">
                  <c:v>-581.70000000000005</c:v>
                </c:pt>
                <c:pt idx="149">
                  <c:v>-585.6</c:v>
                </c:pt>
                <c:pt idx="150">
                  <c:v>-589.5</c:v>
                </c:pt>
                <c:pt idx="151">
                  <c:v>-593.4</c:v>
                </c:pt>
                <c:pt idx="152">
                  <c:v>-597.20000000000005</c:v>
                </c:pt>
                <c:pt idx="153">
                  <c:v>-601.1</c:v>
                </c:pt>
                <c:pt idx="154">
                  <c:v>-605</c:v>
                </c:pt>
                <c:pt idx="155">
                  <c:v>-608.9</c:v>
                </c:pt>
                <c:pt idx="156">
                  <c:v>-612.79999999999995</c:v>
                </c:pt>
                <c:pt idx="157">
                  <c:v>-616.70000000000005</c:v>
                </c:pt>
                <c:pt idx="158">
                  <c:v>-620.6</c:v>
                </c:pt>
                <c:pt idx="159">
                  <c:v>-624.5</c:v>
                </c:pt>
                <c:pt idx="160">
                  <c:v>-628.4</c:v>
                </c:pt>
                <c:pt idx="161">
                  <c:v>-632.29999999999995</c:v>
                </c:pt>
                <c:pt idx="162">
                  <c:v>-636.20000000000005</c:v>
                </c:pt>
                <c:pt idx="163">
                  <c:v>-640.1</c:v>
                </c:pt>
                <c:pt idx="164">
                  <c:v>-644</c:v>
                </c:pt>
                <c:pt idx="165">
                  <c:v>-647.9</c:v>
                </c:pt>
                <c:pt idx="166">
                  <c:v>-651.79999999999995</c:v>
                </c:pt>
                <c:pt idx="167">
                  <c:v>-655.7</c:v>
                </c:pt>
                <c:pt idx="168">
                  <c:v>-659.6</c:v>
                </c:pt>
                <c:pt idx="169">
                  <c:v>-663.5</c:v>
                </c:pt>
                <c:pt idx="170">
                  <c:v>-667.4</c:v>
                </c:pt>
                <c:pt idx="171">
                  <c:v>-671.3</c:v>
                </c:pt>
                <c:pt idx="172">
                  <c:v>-675.1</c:v>
                </c:pt>
                <c:pt idx="173">
                  <c:v>-679</c:v>
                </c:pt>
                <c:pt idx="174">
                  <c:v>-682.9</c:v>
                </c:pt>
                <c:pt idx="175">
                  <c:v>-686.8</c:v>
                </c:pt>
                <c:pt idx="176">
                  <c:v>-690.7</c:v>
                </c:pt>
                <c:pt idx="177">
                  <c:v>-694.6</c:v>
                </c:pt>
                <c:pt idx="178">
                  <c:v>-698.5</c:v>
                </c:pt>
                <c:pt idx="179">
                  <c:v>-702.4</c:v>
                </c:pt>
                <c:pt idx="180">
                  <c:v>-706.3</c:v>
                </c:pt>
                <c:pt idx="181">
                  <c:v>-710.2</c:v>
                </c:pt>
                <c:pt idx="182">
                  <c:v>-714.1</c:v>
                </c:pt>
                <c:pt idx="183">
                  <c:v>-718</c:v>
                </c:pt>
                <c:pt idx="184">
                  <c:v>-721.9</c:v>
                </c:pt>
                <c:pt idx="185">
                  <c:v>-725.8</c:v>
                </c:pt>
                <c:pt idx="186">
                  <c:v>-729.7</c:v>
                </c:pt>
                <c:pt idx="187">
                  <c:v>-733.6</c:v>
                </c:pt>
                <c:pt idx="188">
                  <c:v>-737.5</c:v>
                </c:pt>
                <c:pt idx="189">
                  <c:v>-741.4</c:v>
                </c:pt>
                <c:pt idx="190">
                  <c:v>-745.3</c:v>
                </c:pt>
                <c:pt idx="191">
                  <c:v>-749.2</c:v>
                </c:pt>
                <c:pt idx="192">
                  <c:v>-753</c:v>
                </c:pt>
                <c:pt idx="193">
                  <c:v>-756.9</c:v>
                </c:pt>
                <c:pt idx="194">
                  <c:v>-760.8</c:v>
                </c:pt>
                <c:pt idx="195">
                  <c:v>-764.7</c:v>
                </c:pt>
                <c:pt idx="196">
                  <c:v>-768.6</c:v>
                </c:pt>
                <c:pt idx="197">
                  <c:v>-772.5</c:v>
                </c:pt>
                <c:pt idx="198">
                  <c:v>-776.4</c:v>
                </c:pt>
                <c:pt idx="199">
                  <c:v>-780.3</c:v>
                </c:pt>
                <c:pt idx="200">
                  <c:v>-784.2</c:v>
                </c:pt>
                <c:pt idx="201">
                  <c:v>-788.1</c:v>
                </c:pt>
                <c:pt idx="202">
                  <c:v>-792</c:v>
                </c:pt>
                <c:pt idx="203">
                  <c:v>-795.9</c:v>
                </c:pt>
                <c:pt idx="204">
                  <c:v>-799.8</c:v>
                </c:pt>
                <c:pt idx="205">
                  <c:v>-803.7</c:v>
                </c:pt>
                <c:pt idx="206">
                  <c:v>-807.6</c:v>
                </c:pt>
                <c:pt idx="207">
                  <c:v>-811.5</c:v>
                </c:pt>
                <c:pt idx="208">
                  <c:v>-815.4</c:v>
                </c:pt>
                <c:pt idx="209">
                  <c:v>-819.3</c:v>
                </c:pt>
                <c:pt idx="210">
                  <c:v>-823.2</c:v>
                </c:pt>
                <c:pt idx="211">
                  <c:v>-827.1</c:v>
                </c:pt>
                <c:pt idx="212">
                  <c:v>-830.9</c:v>
                </c:pt>
                <c:pt idx="213">
                  <c:v>-834.8</c:v>
                </c:pt>
                <c:pt idx="214">
                  <c:v>-838.7</c:v>
                </c:pt>
                <c:pt idx="215">
                  <c:v>-842.6</c:v>
                </c:pt>
                <c:pt idx="216">
                  <c:v>-846.5</c:v>
                </c:pt>
                <c:pt idx="217">
                  <c:v>-850.4</c:v>
                </c:pt>
                <c:pt idx="218">
                  <c:v>-854.3</c:v>
                </c:pt>
                <c:pt idx="219">
                  <c:v>-858.2</c:v>
                </c:pt>
                <c:pt idx="220">
                  <c:v>-862.1</c:v>
                </c:pt>
                <c:pt idx="221">
                  <c:v>-866</c:v>
                </c:pt>
                <c:pt idx="222">
                  <c:v>-869.9</c:v>
                </c:pt>
                <c:pt idx="223">
                  <c:v>-873.8</c:v>
                </c:pt>
                <c:pt idx="224">
                  <c:v>-877.7</c:v>
                </c:pt>
                <c:pt idx="225">
                  <c:v>-881.6</c:v>
                </c:pt>
                <c:pt idx="226">
                  <c:v>-885.5</c:v>
                </c:pt>
                <c:pt idx="227">
                  <c:v>-889.4</c:v>
                </c:pt>
                <c:pt idx="228">
                  <c:v>-893.3</c:v>
                </c:pt>
                <c:pt idx="229">
                  <c:v>-897.2</c:v>
                </c:pt>
                <c:pt idx="230">
                  <c:v>-901.1</c:v>
                </c:pt>
                <c:pt idx="231">
                  <c:v>-905</c:v>
                </c:pt>
                <c:pt idx="232">
                  <c:v>-908.8</c:v>
                </c:pt>
                <c:pt idx="233">
                  <c:v>-912.7</c:v>
                </c:pt>
                <c:pt idx="234">
                  <c:v>-916.6</c:v>
                </c:pt>
                <c:pt idx="235">
                  <c:v>-920.5</c:v>
                </c:pt>
                <c:pt idx="236">
                  <c:v>-924.4</c:v>
                </c:pt>
                <c:pt idx="237">
                  <c:v>-928.3</c:v>
                </c:pt>
                <c:pt idx="238">
                  <c:v>-932.2</c:v>
                </c:pt>
                <c:pt idx="239">
                  <c:v>-936.1</c:v>
                </c:pt>
                <c:pt idx="240">
                  <c:v>-940</c:v>
                </c:pt>
                <c:pt idx="241">
                  <c:v>-943.9</c:v>
                </c:pt>
                <c:pt idx="242">
                  <c:v>-947.8</c:v>
                </c:pt>
                <c:pt idx="243">
                  <c:v>-951.7</c:v>
                </c:pt>
                <c:pt idx="244">
                  <c:v>-955.6</c:v>
                </c:pt>
                <c:pt idx="245">
                  <c:v>-959.5</c:v>
                </c:pt>
                <c:pt idx="246">
                  <c:v>-963.4</c:v>
                </c:pt>
                <c:pt idx="247">
                  <c:v>-967.3</c:v>
                </c:pt>
                <c:pt idx="248">
                  <c:v>-971.2</c:v>
                </c:pt>
                <c:pt idx="249">
                  <c:v>-975.1</c:v>
                </c:pt>
                <c:pt idx="250">
                  <c:v>-979</c:v>
                </c:pt>
                <c:pt idx="251">
                  <c:v>-982.9</c:v>
                </c:pt>
                <c:pt idx="252">
                  <c:v>-986.7</c:v>
                </c:pt>
                <c:pt idx="253">
                  <c:v>-990.6</c:v>
                </c:pt>
                <c:pt idx="254">
                  <c:v>-994.5</c:v>
                </c:pt>
                <c:pt idx="255">
                  <c:v>-998.4</c:v>
                </c:pt>
                <c:pt idx="256">
                  <c:v>-1002.3</c:v>
                </c:pt>
                <c:pt idx="257">
                  <c:v>-1006.2</c:v>
                </c:pt>
                <c:pt idx="258">
                  <c:v>-1010.1</c:v>
                </c:pt>
                <c:pt idx="259">
                  <c:v>-1014</c:v>
                </c:pt>
                <c:pt idx="260">
                  <c:v>-1017.9</c:v>
                </c:pt>
                <c:pt idx="261">
                  <c:v>-1021.8</c:v>
                </c:pt>
                <c:pt idx="262">
                  <c:v>-1025.7</c:v>
                </c:pt>
                <c:pt idx="263">
                  <c:v>-1029.5999999999999</c:v>
                </c:pt>
                <c:pt idx="264">
                  <c:v>-1033.5</c:v>
                </c:pt>
                <c:pt idx="265">
                  <c:v>-1037.4000000000001</c:v>
                </c:pt>
                <c:pt idx="266">
                  <c:v>-1041.3</c:v>
                </c:pt>
                <c:pt idx="267">
                  <c:v>-1045.2</c:v>
                </c:pt>
                <c:pt idx="268">
                  <c:v>-1049.0999999999999</c:v>
                </c:pt>
                <c:pt idx="269">
                  <c:v>-1053</c:v>
                </c:pt>
                <c:pt idx="270">
                  <c:v>-1056.9000000000001</c:v>
                </c:pt>
                <c:pt idx="271">
                  <c:v>-1060.8</c:v>
                </c:pt>
                <c:pt idx="272">
                  <c:v>-1064.5999999999999</c:v>
                </c:pt>
                <c:pt idx="273">
                  <c:v>-1068.5</c:v>
                </c:pt>
                <c:pt idx="274">
                  <c:v>-1072.4000000000001</c:v>
                </c:pt>
                <c:pt idx="275">
                  <c:v>-1076.3</c:v>
                </c:pt>
                <c:pt idx="276">
                  <c:v>-1080.2</c:v>
                </c:pt>
                <c:pt idx="277">
                  <c:v>-1084.0999999999999</c:v>
                </c:pt>
                <c:pt idx="278">
                  <c:v>-1088</c:v>
                </c:pt>
                <c:pt idx="279">
                  <c:v>-1091.9000000000001</c:v>
                </c:pt>
                <c:pt idx="280">
                  <c:v>-1095.8</c:v>
                </c:pt>
                <c:pt idx="281">
                  <c:v>-1099.7</c:v>
                </c:pt>
                <c:pt idx="282">
                  <c:v>-1103.5999999999999</c:v>
                </c:pt>
                <c:pt idx="283">
                  <c:v>-1107.5</c:v>
                </c:pt>
                <c:pt idx="284">
                  <c:v>-1111.4000000000001</c:v>
                </c:pt>
                <c:pt idx="285">
                  <c:v>-1115.3</c:v>
                </c:pt>
                <c:pt idx="286">
                  <c:v>-1119.2</c:v>
                </c:pt>
                <c:pt idx="287">
                  <c:v>-1123.0999999999999</c:v>
                </c:pt>
                <c:pt idx="288">
                  <c:v>-1127</c:v>
                </c:pt>
                <c:pt idx="289">
                  <c:v>-1130.9000000000001</c:v>
                </c:pt>
                <c:pt idx="290">
                  <c:v>-1134.8</c:v>
                </c:pt>
                <c:pt idx="291">
                  <c:v>-1138.7</c:v>
                </c:pt>
                <c:pt idx="292">
                  <c:v>-1142.5</c:v>
                </c:pt>
                <c:pt idx="293">
                  <c:v>-1146.4000000000001</c:v>
                </c:pt>
                <c:pt idx="294">
                  <c:v>-1150.3</c:v>
                </c:pt>
                <c:pt idx="295">
                  <c:v>-1154.2</c:v>
                </c:pt>
                <c:pt idx="296">
                  <c:v>-1158.0999999999999</c:v>
                </c:pt>
                <c:pt idx="297">
                  <c:v>-1162</c:v>
                </c:pt>
                <c:pt idx="298">
                  <c:v>-1165.9000000000001</c:v>
                </c:pt>
                <c:pt idx="299">
                  <c:v>-1169.8</c:v>
                </c:pt>
                <c:pt idx="300">
                  <c:v>-1173.7</c:v>
                </c:pt>
                <c:pt idx="301">
                  <c:v>-1177.5999999999999</c:v>
                </c:pt>
                <c:pt idx="302">
                  <c:v>-1181.5</c:v>
                </c:pt>
                <c:pt idx="303">
                  <c:v>-1185.4000000000001</c:v>
                </c:pt>
                <c:pt idx="304">
                  <c:v>-1189.3</c:v>
                </c:pt>
                <c:pt idx="305">
                  <c:v>-1193.2</c:v>
                </c:pt>
                <c:pt idx="306">
                  <c:v>-1197.0999999999999</c:v>
                </c:pt>
                <c:pt idx="307">
                  <c:v>-1201</c:v>
                </c:pt>
                <c:pt idx="308">
                  <c:v>-1204.9000000000001</c:v>
                </c:pt>
                <c:pt idx="309">
                  <c:v>-1208.8</c:v>
                </c:pt>
                <c:pt idx="310">
                  <c:v>-1212.7</c:v>
                </c:pt>
                <c:pt idx="311">
                  <c:v>-1216.5999999999999</c:v>
                </c:pt>
                <c:pt idx="312">
                  <c:v>-1220.4000000000001</c:v>
                </c:pt>
                <c:pt idx="313">
                  <c:v>-1224.3</c:v>
                </c:pt>
                <c:pt idx="314">
                  <c:v>-1228.2</c:v>
                </c:pt>
                <c:pt idx="315">
                  <c:v>-1232.0999999999999</c:v>
                </c:pt>
                <c:pt idx="316">
                  <c:v>-1236</c:v>
                </c:pt>
                <c:pt idx="317">
                  <c:v>-1239.9000000000001</c:v>
                </c:pt>
                <c:pt idx="318">
                  <c:v>-1243.8</c:v>
                </c:pt>
                <c:pt idx="319">
                  <c:v>-1247.7</c:v>
                </c:pt>
                <c:pt idx="320">
                  <c:v>-1251.5999999999999</c:v>
                </c:pt>
                <c:pt idx="321">
                  <c:v>-1255.5</c:v>
                </c:pt>
                <c:pt idx="322">
                  <c:v>-1259.4000000000001</c:v>
                </c:pt>
                <c:pt idx="323">
                  <c:v>-1263.3</c:v>
                </c:pt>
                <c:pt idx="324">
                  <c:v>-1267.2</c:v>
                </c:pt>
                <c:pt idx="325">
                  <c:v>-1271.0999999999999</c:v>
                </c:pt>
                <c:pt idx="326">
                  <c:v>-1275</c:v>
                </c:pt>
                <c:pt idx="327">
                  <c:v>-1278.9000000000001</c:v>
                </c:pt>
                <c:pt idx="328">
                  <c:v>-1282.8</c:v>
                </c:pt>
                <c:pt idx="329">
                  <c:v>-1286.7</c:v>
                </c:pt>
                <c:pt idx="330">
                  <c:v>-1290.5999999999999</c:v>
                </c:pt>
                <c:pt idx="331">
                  <c:v>-1294.5</c:v>
                </c:pt>
                <c:pt idx="332">
                  <c:v>-1298.3</c:v>
                </c:pt>
                <c:pt idx="333">
                  <c:v>-1302.2</c:v>
                </c:pt>
                <c:pt idx="334">
                  <c:v>-1306.0999999999999</c:v>
                </c:pt>
                <c:pt idx="335">
                  <c:v>-1310</c:v>
                </c:pt>
                <c:pt idx="336">
                  <c:v>-1313.9</c:v>
                </c:pt>
                <c:pt idx="337">
                  <c:v>-1317.8</c:v>
                </c:pt>
                <c:pt idx="338">
                  <c:v>-1321.7</c:v>
                </c:pt>
                <c:pt idx="339">
                  <c:v>-1325.6</c:v>
                </c:pt>
                <c:pt idx="340">
                  <c:v>-1329.5</c:v>
                </c:pt>
                <c:pt idx="341">
                  <c:v>-1333.4</c:v>
                </c:pt>
                <c:pt idx="342">
                  <c:v>-1337.3</c:v>
                </c:pt>
                <c:pt idx="343">
                  <c:v>-1341.2</c:v>
                </c:pt>
                <c:pt idx="344">
                  <c:v>-1345.1</c:v>
                </c:pt>
                <c:pt idx="345">
                  <c:v>-1349</c:v>
                </c:pt>
                <c:pt idx="346">
                  <c:v>-1352.9</c:v>
                </c:pt>
                <c:pt idx="347">
                  <c:v>-1356.8</c:v>
                </c:pt>
                <c:pt idx="348">
                  <c:v>-1360.7</c:v>
                </c:pt>
                <c:pt idx="349">
                  <c:v>-1364.6</c:v>
                </c:pt>
                <c:pt idx="350">
                  <c:v>-1368.5</c:v>
                </c:pt>
                <c:pt idx="351">
                  <c:v>-1372.4</c:v>
                </c:pt>
                <c:pt idx="352">
                  <c:v>-1376.2</c:v>
                </c:pt>
                <c:pt idx="353">
                  <c:v>-1380.1</c:v>
                </c:pt>
                <c:pt idx="354">
                  <c:v>-1384</c:v>
                </c:pt>
                <c:pt idx="355">
                  <c:v>-1387.9</c:v>
                </c:pt>
                <c:pt idx="356">
                  <c:v>-1391.8</c:v>
                </c:pt>
                <c:pt idx="357">
                  <c:v>-1395.7</c:v>
                </c:pt>
                <c:pt idx="358">
                  <c:v>-1399.6</c:v>
                </c:pt>
                <c:pt idx="359">
                  <c:v>-1403.5</c:v>
                </c:pt>
                <c:pt idx="360">
                  <c:v>-1407.4</c:v>
                </c:pt>
                <c:pt idx="361">
                  <c:v>-1411.3</c:v>
                </c:pt>
                <c:pt idx="362">
                  <c:v>-1415.2</c:v>
                </c:pt>
                <c:pt idx="363">
                  <c:v>-1419.1</c:v>
                </c:pt>
                <c:pt idx="364">
                  <c:v>-1423</c:v>
                </c:pt>
                <c:pt idx="365">
                  <c:v>-1426.9</c:v>
                </c:pt>
                <c:pt idx="366">
                  <c:v>-1430.8</c:v>
                </c:pt>
                <c:pt idx="367">
                  <c:v>-1434.7</c:v>
                </c:pt>
                <c:pt idx="368">
                  <c:v>-1438.6</c:v>
                </c:pt>
                <c:pt idx="369">
                  <c:v>-1442.5</c:v>
                </c:pt>
                <c:pt idx="370">
                  <c:v>-1446.4</c:v>
                </c:pt>
                <c:pt idx="371">
                  <c:v>-1450.3</c:v>
                </c:pt>
                <c:pt idx="372">
                  <c:v>-1454.1</c:v>
                </c:pt>
                <c:pt idx="373">
                  <c:v>-1458</c:v>
                </c:pt>
                <c:pt idx="374">
                  <c:v>-1461.9</c:v>
                </c:pt>
                <c:pt idx="375">
                  <c:v>-1465.8</c:v>
                </c:pt>
                <c:pt idx="376">
                  <c:v>-1469.7</c:v>
                </c:pt>
                <c:pt idx="377">
                  <c:v>-1473.6</c:v>
                </c:pt>
                <c:pt idx="378">
                  <c:v>-1477.5</c:v>
                </c:pt>
                <c:pt idx="379">
                  <c:v>-1481.4</c:v>
                </c:pt>
                <c:pt idx="380">
                  <c:v>-1485.3</c:v>
                </c:pt>
                <c:pt idx="381">
                  <c:v>-1489.2</c:v>
                </c:pt>
                <c:pt idx="382">
                  <c:v>-1493.1</c:v>
                </c:pt>
                <c:pt idx="383">
                  <c:v>-1497</c:v>
                </c:pt>
                <c:pt idx="384">
                  <c:v>-1500.9</c:v>
                </c:pt>
                <c:pt idx="385">
                  <c:v>-1504.8</c:v>
                </c:pt>
                <c:pt idx="386">
                  <c:v>-1508.7</c:v>
                </c:pt>
                <c:pt idx="387">
                  <c:v>-1512.6</c:v>
                </c:pt>
                <c:pt idx="388">
                  <c:v>-1516.5</c:v>
                </c:pt>
                <c:pt idx="389">
                  <c:v>-1520.4</c:v>
                </c:pt>
                <c:pt idx="390">
                  <c:v>-1524.3</c:v>
                </c:pt>
                <c:pt idx="391">
                  <c:v>-1528.2</c:v>
                </c:pt>
                <c:pt idx="392">
                  <c:v>-1532</c:v>
                </c:pt>
                <c:pt idx="393">
                  <c:v>-1535.9</c:v>
                </c:pt>
                <c:pt idx="394">
                  <c:v>-1539.8</c:v>
                </c:pt>
                <c:pt idx="395">
                  <c:v>-1543.7</c:v>
                </c:pt>
                <c:pt idx="396">
                  <c:v>-1547.6</c:v>
                </c:pt>
                <c:pt idx="397">
                  <c:v>-1551.5</c:v>
                </c:pt>
                <c:pt idx="398">
                  <c:v>-1555.4</c:v>
                </c:pt>
                <c:pt idx="399">
                  <c:v>-1559.3</c:v>
                </c:pt>
                <c:pt idx="400">
                  <c:v>-1563.2</c:v>
                </c:pt>
                <c:pt idx="401">
                  <c:v>-1567.1</c:v>
                </c:pt>
                <c:pt idx="402">
                  <c:v>-1571</c:v>
                </c:pt>
                <c:pt idx="403">
                  <c:v>-1574.9</c:v>
                </c:pt>
                <c:pt idx="404">
                  <c:v>-1578.8</c:v>
                </c:pt>
                <c:pt idx="405">
                  <c:v>-1582.7</c:v>
                </c:pt>
                <c:pt idx="406">
                  <c:v>-1586.6</c:v>
                </c:pt>
                <c:pt idx="407">
                  <c:v>-1590.5</c:v>
                </c:pt>
                <c:pt idx="408">
                  <c:v>-1594.4</c:v>
                </c:pt>
                <c:pt idx="409">
                  <c:v>-1598.3</c:v>
                </c:pt>
                <c:pt idx="410">
                  <c:v>-1602.2</c:v>
                </c:pt>
                <c:pt idx="411">
                  <c:v>-1606.1</c:v>
                </c:pt>
                <c:pt idx="412">
                  <c:v>-1609.9</c:v>
                </c:pt>
                <c:pt idx="413">
                  <c:v>-1613.8</c:v>
                </c:pt>
                <c:pt idx="414">
                  <c:v>-1617.7</c:v>
                </c:pt>
                <c:pt idx="415">
                  <c:v>-1621.6</c:v>
                </c:pt>
                <c:pt idx="416">
                  <c:v>-1625.5</c:v>
                </c:pt>
                <c:pt idx="417">
                  <c:v>-1629.4</c:v>
                </c:pt>
                <c:pt idx="418">
                  <c:v>-1633.3</c:v>
                </c:pt>
                <c:pt idx="419">
                  <c:v>-1637.2</c:v>
                </c:pt>
                <c:pt idx="420">
                  <c:v>-1641.1</c:v>
                </c:pt>
                <c:pt idx="421">
                  <c:v>-1645</c:v>
                </c:pt>
                <c:pt idx="422">
                  <c:v>-1648.9</c:v>
                </c:pt>
                <c:pt idx="423">
                  <c:v>-1652.8</c:v>
                </c:pt>
                <c:pt idx="424">
                  <c:v>-1656.7</c:v>
                </c:pt>
                <c:pt idx="425">
                  <c:v>-1660.6</c:v>
                </c:pt>
                <c:pt idx="426">
                  <c:v>-1664.5</c:v>
                </c:pt>
                <c:pt idx="427">
                  <c:v>-1668.4</c:v>
                </c:pt>
                <c:pt idx="428">
                  <c:v>-1672.3</c:v>
                </c:pt>
                <c:pt idx="429">
                  <c:v>-1676.2</c:v>
                </c:pt>
                <c:pt idx="430">
                  <c:v>-1680.1</c:v>
                </c:pt>
                <c:pt idx="431">
                  <c:v>-1684</c:v>
                </c:pt>
                <c:pt idx="432">
                  <c:v>-1687.8</c:v>
                </c:pt>
                <c:pt idx="433">
                  <c:v>-1691.7</c:v>
                </c:pt>
                <c:pt idx="434">
                  <c:v>-1695.6</c:v>
                </c:pt>
                <c:pt idx="435">
                  <c:v>-1699.5</c:v>
                </c:pt>
                <c:pt idx="436">
                  <c:v>-1703.4</c:v>
                </c:pt>
                <c:pt idx="437">
                  <c:v>-1707.3</c:v>
                </c:pt>
                <c:pt idx="438">
                  <c:v>-1711.2</c:v>
                </c:pt>
                <c:pt idx="439">
                  <c:v>-1715.1</c:v>
                </c:pt>
                <c:pt idx="440">
                  <c:v>-1719</c:v>
                </c:pt>
                <c:pt idx="441">
                  <c:v>-1722.9</c:v>
                </c:pt>
                <c:pt idx="442">
                  <c:v>-1726.8</c:v>
                </c:pt>
                <c:pt idx="443">
                  <c:v>-1730.7</c:v>
                </c:pt>
                <c:pt idx="444">
                  <c:v>-1734.6</c:v>
                </c:pt>
                <c:pt idx="445">
                  <c:v>-1738.5</c:v>
                </c:pt>
                <c:pt idx="446">
                  <c:v>-1742.4</c:v>
                </c:pt>
                <c:pt idx="447">
                  <c:v>-1746.3</c:v>
                </c:pt>
                <c:pt idx="448">
                  <c:v>-1750.2</c:v>
                </c:pt>
                <c:pt idx="449">
                  <c:v>-1754.1</c:v>
                </c:pt>
                <c:pt idx="450">
                  <c:v>-1758</c:v>
                </c:pt>
                <c:pt idx="451">
                  <c:v>-1761.9</c:v>
                </c:pt>
                <c:pt idx="452">
                  <c:v>-1765.7</c:v>
                </c:pt>
                <c:pt idx="453">
                  <c:v>-1769.6</c:v>
                </c:pt>
                <c:pt idx="454">
                  <c:v>-1773.5</c:v>
                </c:pt>
                <c:pt idx="455">
                  <c:v>-1777.4</c:v>
                </c:pt>
                <c:pt idx="456">
                  <c:v>-1781.3</c:v>
                </c:pt>
                <c:pt idx="457">
                  <c:v>-1785.2</c:v>
                </c:pt>
                <c:pt idx="458">
                  <c:v>-1789.1</c:v>
                </c:pt>
                <c:pt idx="459">
                  <c:v>-1793</c:v>
                </c:pt>
                <c:pt idx="460">
                  <c:v>-1796.9</c:v>
                </c:pt>
                <c:pt idx="461">
                  <c:v>-1800.8</c:v>
                </c:pt>
                <c:pt idx="462">
                  <c:v>-1804.7</c:v>
                </c:pt>
                <c:pt idx="463">
                  <c:v>-1808.6</c:v>
                </c:pt>
                <c:pt idx="464">
                  <c:v>-1812.5</c:v>
                </c:pt>
                <c:pt idx="465">
                  <c:v>-1816.4</c:v>
                </c:pt>
                <c:pt idx="466">
                  <c:v>-1820.3</c:v>
                </c:pt>
                <c:pt idx="467">
                  <c:v>-1824.2</c:v>
                </c:pt>
                <c:pt idx="468">
                  <c:v>-1828.1</c:v>
                </c:pt>
                <c:pt idx="469">
                  <c:v>-1832</c:v>
                </c:pt>
                <c:pt idx="470">
                  <c:v>-1835.9</c:v>
                </c:pt>
                <c:pt idx="471">
                  <c:v>-1839.8</c:v>
                </c:pt>
                <c:pt idx="472">
                  <c:v>-1843.6</c:v>
                </c:pt>
                <c:pt idx="473">
                  <c:v>-1847.5</c:v>
                </c:pt>
                <c:pt idx="474">
                  <c:v>-1851.4</c:v>
                </c:pt>
                <c:pt idx="475">
                  <c:v>-1855.3</c:v>
                </c:pt>
                <c:pt idx="476">
                  <c:v>-1859.2</c:v>
                </c:pt>
                <c:pt idx="477">
                  <c:v>-1863.1</c:v>
                </c:pt>
                <c:pt idx="478">
                  <c:v>-1867</c:v>
                </c:pt>
                <c:pt idx="479">
                  <c:v>-1870.9</c:v>
                </c:pt>
                <c:pt idx="480">
                  <c:v>-1874.8</c:v>
                </c:pt>
                <c:pt idx="481">
                  <c:v>-1878.7</c:v>
                </c:pt>
                <c:pt idx="482">
                  <c:v>-1882.6</c:v>
                </c:pt>
                <c:pt idx="483">
                  <c:v>-1886.5</c:v>
                </c:pt>
                <c:pt idx="484">
                  <c:v>-1890.4</c:v>
                </c:pt>
                <c:pt idx="485">
                  <c:v>-1894.3</c:v>
                </c:pt>
                <c:pt idx="486">
                  <c:v>-1898.2</c:v>
                </c:pt>
                <c:pt idx="487">
                  <c:v>-1902.1</c:v>
                </c:pt>
                <c:pt idx="488">
                  <c:v>-1906</c:v>
                </c:pt>
                <c:pt idx="489">
                  <c:v>-1909.9</c:v>
                </c:pt>
                <c:pt idx="490">
                  <c:v>-1913.8</c:v>
                </c:pt>
                <c:pt idx="491">
                  <c:v>-1917.7</c:v>
                </c:pt>
                <c:pt idx="492">
                  <c:v>-1921.5</c:v>
                </c:pt>
                <c:pt idx="493">
                  <c:v>-1925.4</c:v>
                </c:pt>
                <c:pt idx="494">
                  <c:v>-1929.3</c:v>
                </c:pt>
                <c:pt idx="495">
                  <c:v>-1933.2</c:v>
                </c:pt>
                <c:pt idx="496">
                  <c:v>-1937.1</c:v>
                </c:pt>
                <c:pt idx="497">
                  <c:v>-1941</c:v>
                </c:pt>
                <c:pt idx="498">
                  <c:v>-1944.9</c:v>
                </c:pt>
                <c:pt idx="499">
                  <c:v>-1948.8</c:v>
                </c:pt>
                <c:pt idx="500">
                  <c:v>-1952.7</c:v>
                </c:pt>
                <c:pt idx="501">
                  <c:v>-1956.6</c:v>
                </c:pt>
                <c:pt idx="502">
                  <c:v>-1960.5</c:v>
                </c:pt>
                <c:pt idx="503">
                  <c:v>-1964.4</c:v>
                </c:pt>
                <c:pt idx="504">
                  <c:v>-1968.3</c:v>
                </c:pt>
                <c:pt idx="505">
                  <c:v>-1972.2</c:v>
                </c:pt>
                <c:pt idx="506">
                  <c:v>-1976.1</c:v>
                </c:pt>
                <c:pt idx="507">
                  <c:v>-1980</c:v>
                </c:pt>
                <c:pt idx="508">
                  <c:v>-1983.9</c:v>
                </c:pt>
                <c:pt idx="509">
                  <c:v>-1987.8</c:v>
                </c:pt>
                <c:pt idx="510">
                  <c:v>-1991.7</c:v>
                </c:pt>
                <c:pt idx="511">
                  <c:v>-1995.6</c:v>
                </c:pt>
                <c:pt idx="512">
                  <c:v>-1999.4</c:v>
                </c:pt>
                <c:pt idx="513">
                  <c:v>-2003.3</c:v>
                </c:pt>
                <c:pt idx="514">
                  <c:v>-2007.2</c:v>
                </c:pt>
                <c:pt idx="515">
                  <c:v>-2011.1</c:v>
                </c:pt>
                <c:pt idx="516">
                  <c:v>-2015</c:v>
                </c:pt>
                <c:pt idx="517">
                  <c:v>-2018.9</c:v>
                </c:pt>
                <c:pt idx="518">
                  <c:v>-2022.8</c:v>
                </c:pt>
                <c:pt idx="519">
                  <c:v>-2026.7</c:v>
                </c:pt>
                <c:pt idx="520">
                  <c:v>-2030.6</c:v>
                </c:pt>
                <c:pt idx="521">
                  <c:v>-2034.5</c:v>
                </c:pt>
                <c:pt idx="522">
                  <c:v>-2038.4</c:v>
                </c:pt>
                <c:pt idx="523">
                  <c:v>-2042.3</c:v>
                </c:pt>
                <c:pt idx="524">
                  <c:v>-2046.2</c:v>
                </c:pt>
                <c:pt idx="525">
                  <c:v>-2050.1</c:v>
                </c:pt>
                <c:pt idx="526">
                  <c:v>-2054</c:v>
                </c:pt>
                <c:pt idx="527">
                  <c:v>-2057.9</c:v>
                </c:pt>
                <c:pt idx="528">
                  <c:v>-2061.8000000000002</c:v>
                </c:pt>
                <c:pt idx="529">
                  <c:v>-2065.6999999999998</c:v>
                </c:pt>
                <c:pt idx="530">
                  <c:v>-2069.6</c:v>
                </c:pt>
                <c:pt idx="531">
                  <c:v>-2073.5</c:v>
                </c:pt>
                <c:pt idx="532">
                  <c:v>-2077.3000000000002</c:v>
                </c:pt>
                <c:pt idx="533">
                  <c:v>-2081.1999999999998</c:v>
                </c:pt>
                <c:pt idx="534">
                  <c:v>-2085.1</c:v>
                </c:pt>
                <c:pt idx="535">
                  <c:v>-2089</c:v>
                </c:pt>
                <c:pt idx="536">
                  <c:v>-2092.9</c:v>
                </c:pt>
                <c:pt idx="537">
                  <c:v>-2096.8000000000002</c:v>
                </c:pt>
                <c:pt idx="538">
                  <c:v>-2100.6999999999998</c:v>
                </c:pt>
                <c:pt idx="539">
                  <c:v>-2104.6</c:v>
                </c:pt>
                <c:pt idx="540">
                  <c:v>-2108.5</c:v>
                </c:pt>
                <c:pt idx="541">
                  <c:v>-2112.4</c:v>
                </c:pt>
                <c:pt idx="542">
                  <c:v>-2116.3000000000002</c:v>
                </c:pt>
                <c:pt idx="543">
                  <c:v>-2120.1999999999998</c:v>
                </c:pt>
                <c:pt idx="544">
                  <c:v>-2124.1</c:v>
                </c:pt>
                <c:pt idx="545">
                  <c:v>-2128</c:v>
                </c:pt>
                <c:pt idx="546">
                  <c:v>-2131.9</c:v>
                </c:pt>
                <c:pt idx="547">
                  <c:v>-2135.8000000000002</c:v>
                </c:pt>
                <c:pt idx="548">
                  <c:v>-2139.6999999999998</c:v>
                </c:pt>
                <c:pt idx="549">
                  <c:v>-2143.6</c:v>
                </c:pt>
                <c:pt idx="550">
                  <c:v>-2147.5</c:v>
                </c:pt>
                <c:pt idx="551">
                  <c:v>-2151.4</c:v>
                </c:pt>
                <c:pt idx="552">
                  <c:v>-2155.1999999999998</c:v>
                </c:pt>
                <c:pt idx="553">
                  <c:v>-2159.1</c:v>
                </c:pt>
                <c:pt idx="554">
                  <c:v>-2163</c:v>
                </c:pt>
                <c:pt idx="555">
                  <c:v>-2166.9</c:v>
                </c:pt>
                <c:pt idx="556">
                  <c:v>-2170.8000000000002</c:v>
                </c:pt>
                <c:pt idx="557">
                  <c:v>-2174.6999999999998</c:v>
                </c:pt>
                <c:pt idx="558">
                  <c:v>-2178.6</c:v>
                </c:pt>
                <c:pt idx="559">
                  <c:v>-2182.5</c:v>
                </c:pt>
                <c:pt idx="560">
                  <c:v>-2186.4</c:v>
                </c:pt>
                <c:pt idx="561">
                  <c:v>-2190.3000000000002</c:v>
                </c:pt>
                <c:pt idx="562">
                  <c:v>-2194.1999999999998</c:v>
                </c:pt>
                <c:pt idx="563">
                  <c:v>-2198.1</c:v>
                </c:pt>
                <c:pt idx="564">
                  <c:v>-2202</c:v>
                </c:pt>
                <c:pt idx="565">
                  <c:v>-2205.9</c:v>
                </c:pt>
                <c:pt idx="566">
                  <c:v>-2209.8000000000002</c:v>
                </c:pt>
                <c:pt idx="567">
                  <c:v>-2213.6999999999998</c:v>
                </c:pt>
                <c:pt idx="568">
                  <c:v>-2217.6</c:v>
                </c:pt>
                <c:pt idx="569">
                  <c:v>-2221.5</c:v>
                </c:pt>
                <c:pt idx="570">
                  <c:v>-2225.4</c:v>
                </c:pt>
                <c:pt idx="571">
                  <c:v>-2229.3000000000002</c:v>
                </c:pt>
                <c:pt idx="572">
                  <c:v>-2233.1</c:v>
                </c:pt>
                <c:pt idx="573">
                  <c:v>-2237</c:v>
                </c:pt>
                <c:pt idx="574">
                  <c:v>-2240.9</c:v>
                </c:pt>
                <c:pt idx="575">
                  <c:v>-2244.8000000000002</c:v>
                </c:pt>
                <c:pt idx="576">
                  <c:v>-2248.6999999999998</c:v>
                </c:pt>
                <c:pt idx="577">
                  <c:v>-2252.6</c:v>
                </c:pt>
                <c:pt idx="578">
                  <c:v>-2256.5</c:v>
                </c:pt>
                <c:pt idx="579">
                  <c:v>-2260.4</c:v>
                </c:pt>
                <c:pt idx="580">
                  <c:v>-2264.3000000000002</c:v>
                </c:pt>
                <c:pt idx="581">
                  <c:v>-2268.1999999999998</c:v>
                </c:pt>
                <c:pt idx="582">
                  <c:v>-2272.1</c:v>
                </c:pt>
                <c:pt idx="583">
                  <c:v>-2276</c:v>
                </c:pt>
                <c:pt idx="584">
                  <c:v>-2279.9</c:v>
                </c:pt>
                <c:pt idx="585">
                  <c:v>-2283.8000000000002</c:v>
                </c:pt>
                <c:pt idx="586">
                  <c:v>-2287.6999999999998</c:v>
                </c:pt>
                <c:pt idx="587">
                  <c:v>-2291.6</c:v>
                </c:pt>
                <c:pt idx="588">
                  <c:v>-2295.5</c:v>
                </c:pt>
                <c:pt idx="589">
                  <c:v>-2299.4</c:v>
                </c:pt>
                <c:pt idx="590">
                  <c:v>-2303.3000000000002</c:v>
                </c:pt>
                <c:pt idx="591">
                  <c:v>-2307.1999999999998</c:v>
                </c:pt>
                <c:pt idx="592">
                  <c:v>-2311</c:v>
                </c:pt>
                <c:pt idx="593">
                  <c:v>-2314.9</c:v>
                </c:pt>
                <c:pt idx="594">
                  <c:v>-2318.8000000000002</c:v>
                </c:pt>
                <c:pt idx="595">
                  <c:v>-2322.6999999999998</c:v>
                </c:pt>
                <c:pt idx="596">
                  <c:v>-2326.6</c:v>
                </c:pt>
                <c:pt idx="597">
                  <c:v>-2330.5</c:v>
                </c:pt>
                <c:pt idx="598">
                  <c:v>-2334.4</c:v>
                </c:pt>
                <c:pt idx="599">
                  <c:v>-2338.3000000000002</c:v>
                </c:pt>
                <c:pt idx="600">
                  <c:v>-2342.1999999999998</c:v>
                </c:pt>
                <c:pt idx="601">
                  <c:v>-2346.1</c:v>
                </c:pt>
                <c:pt idx="602">
                  <c:v>-2350</c:v>
                </c:pt>
                <c:pt idx="603">
                  <c:v>-2353.9</c:v>
                </c:pt>
                <c:pt idx="604">
                  <c:v>-2357.8000000000002</c:v>
                </c:pt>
                <c:pt idx="605">
                  <c:v>-2361.6999999999998</c:v>
                </c:pt>
                <c:pt idx="606">
                  <c:v>-2365.6</c:v>
                </c:pt>
                <c:pt idx="607">
                  <c:v>-2369.5</c:v>
                </c:pt>
                <c:pt idx="608">
                  <c:v>-2373.4</c:v>
                </c:pt>
                <c:pt idx="609">
                  <c:v>-2377.3000000000002</c:v>
                </c:pt>
                <c:pt idx="610">
                  <c:v>-2381.1999999999998</c:v>
                </c:pt>
                <c:pt idx="611">
                  <c:v>-2385.1</c:v>
                </c:pt>
                <c:pt idx="612">
                  <c:v>-2392.8000000000002</c:v>
                </c:pt>
                <c:pt idx="613">
                  <c:v>-2396.6999999999998</c:v>
                </c:pt>
                <c:pt idx="614">
                  <c:v>-2400.6</c:v>
                </c:pt>
                <c:pt idx="615">
                  <c:v>-2404.5</c:v>
                </c:pt>
                <c:pt idx="616">
                  <c:v>-2408.4</c:v>
                </c:pt>
                <c:pt idx="617">
                  <c:v>-2412.3000000000002</c:v>
                </c:pt>
                <c:pt idx="618">
                  <c:v>-2416.1999999999998</c:v>
                </c:pt>
                <c:pt idx="619">
                  <c:v>-2420.1</c:v>
                </c:pt>
                <c:pt idx="620">
                  <c:v>-2424</c:v>
                </c:pt>
                <c:pt idx="621">
                  <c:v>-2431.8000000000002</c:v>
                </c:pt>
                <c:pt idx="622">
                  <c:v>-2435.6999999999998</c:v>
                </c:pt>
                <c:pt idx="623">
                  <c:v>-2447.4</c:v>
                </c:pt>
                <c:pt idx="624">
                  <c:v>-2451.3000000000002</c:v>
                </c:pt>
                <c:pt idx="625">
                  <c:v>-2455.1999999999998</c:v>
                </c:pt>
                <c:pt idx="626">
                  <c:v>-2459.1</c:v>
                </c:pt>
                <c:pt idx="627">
                  <c:v>-2463</c:v>
                </c:pt>
                <c:pt idx="628">
                  <c:v>-2470.6999999999998</c:v>
                </c:pt>
                <c:pt idx="629">
                  <c:v>-2474.6</c:v>
                </c:pt>
                <c:pt idx="630">
                  <c:v>-2478.5</c:v>
                </c:pt>
                <c:pt idx="631">
                  <c:v>-2486.3000000000002</c:v>
                </c:pt>
                <c:pt idx="632">
                  <c:v>-2494.1</c:v>
                </c:pt>
                <c:pt idx="633">
                  <c:v>-2498</c:v>
                </c:pt>
                <c:pt idx="634">
                  <c:v>-2501.9</c:v>
                </c:pt>
                <c:pt idx="635">
                  <c:v>-2505.8000000000002</c:v>
                </c:pt>
              </c:numCache>
            </c:numRef>
          </c:yVal>
          <c:smooth val="1"/>
        </c:ser>
        <c:dLbls/>
        <c:axId val="82207488"/>
        <c:axId val="82209408"/>
      </c:scatterChart>
      <c:valAx>
        <c:axId val="82207488"/>
        <c:scaling>
          <c:orientation val="minMax"/>
          <c:max val="150"/>
          <c:min val="0"/>
        </c:scaling>
        <c:axPos val="b"/>
        <c:majorGridlines>
          <c:spPr>
            <a:ln w="3619">
              <a:solidFill>
                <a:srgbClr val="C0C0C0"/>
              </a:solidFill>
              <a:prstDash val="solid"/>
            </a:ln>
          </c:spPr>
        </c:majorGridlines>
        <c:title>
          <c:tx>
            <c:rich>
              <a:bodyPr/>
              <a:lstStyle/>
              <a:p>
                <a:pPr>
                  <a:defRPr sz="1168" b="1" i="0" u="none" strike="noStrike" baseline="0">
                    <a:solidFill>
                      <a:srgbClr val="000080"/>
                    </a:solidFill>
                    <a:latin typeface="DIN-Light"/>
                    <a:ea typeface="DIN-Light"/>
                    <a:cs typeface="DIN-Light"/>
                  </a:defRPr>
                </a:pPr>
                <a:r>
                  <a:rPr lang="de-DE" dirty="0" smtClean="0"/>
                  <a:t>H</a:t>
                </a:r>
                <a:r>
                  <a:rPr lang="hu-HU" dirty="0" smtClean="0"/>
                  <a:t>őmérséklet</a:t>
                </a:r>
                <a:r>
                  <a:rPr lang="de-DE" dirty="0" smtClean="0"/>
                  <a:t>[°</a:t>
                </a:r>
                <a:r>
                  <a:rPr lang="de-DE" dirty="0"/>
                  <a:t>C]</a:t>
                </a:r>
              </a:p>
            </c:rich>
          </c:tx>
          <c:layout>
            <c:manualLayout>
              <c:xMode val="edge"/>
              <c:yMode val="edge"/>
              <c:x val="0.33409086875054916"/>
              <c:y val="0.88330337509238388"/>
            </c:manualLayout>
          </c:layout>
          <c:spPr>
            <a:noFill/>
            <a:ln w="28954">
              <a:noFill/>
            </a:ln>
          </c:spPr>
        </c:title>
        <c:numFmt formatCode="General" sourceLinked="1"/>
        <c:majorTickMark val="in"/>
        <c:tickLblPos val="high"/>
        <c:spPr>
          <a:ln w="28954">
            <a:solidFill>
              <a:srgbClr val="FFCC99"/>
            </a:solidFill>
            <a:prstDash val="solid"/>
          </a:ln>
        </c:spPr>
        <c:txPr>
          <a:bodyPr rot="0" vert="horz"/>
          <a:lstStyle/>
          <a:p>
            <a:pPr>
              <a:defRPr sz="912" b="0" i="0" u="none" strike="noStrike" baseline="0">
                <a:solidFill>
                  <a:srgbClr val="000000"/>
                </a:solidFill>
                <a:latin typeface="DIN-Light"/>
                <a:ea typeface="DIN-Light"/>
                <a:cs typeface="DIN-Light"/>
              </a:defRPr>
            </a:pPr>
            <a:endParaRPr lang="hu-HU"/>
          </a:p>
        </c:txPr>
        <c:crossAx val="82209408"/>
        <c:crossesAt val="0"/>
        <c:crossBetween val="midCat"/>
        <c:majorUnit val="50"/>
      </c:valAx>
      <c:valAx>
        <c:axId val="82209408"/>
        <c:scaling>
          <c:orientation val="minMax"/>
          <c:max val="0"/>
          <c:min val="-2500"/>
        </c:scaling>
        <c:axPos val="l"/>
        <c:majorGridlines>
          <c:spPr>
            <a:ln w="3619">
              <a:solidFill>
                <a:srgbClr val="C0C0C0"/>
              </a:solidFill>
              <a:prstDash val="solid"/>
            </a:ln>
          </c:spPr>
        </c:majorGridlines>
        <c:title>
          <c:tx>
            <c:rich>
              <a:bodyPr/>
              <a:lstStyle/>
              <a:p>
                <a:pPr>
                  <a:defRPr sz="1168" b="1" i="0" u="none" strike="noStrike" baseline="0">
                    <a:solidFill>
                      <a:srgbClr val="000080"/>
                    </a:solidFill>
                    <a:latin typeface="DIN-Light"/>
                    <a:ea typeface="DIN-Light"/>
                    <a:cs typeface="DIN-Light"/>
                  </a:defRPr>
                </a:pPr>
                <a:r>
                  <a:rPr lang="hu-HU" dirty="0" smtClean="0"/>
                  <a:t>Mélység</a:t>
                </a:r>
                <a:r>
                  <a:rPr lang="de-DE" dirty="0" smtClean="0"/>
                  <a:t>[m</a:t>
                </a:r>
                <a:r>
                  <a:rPr lang="de-DE" dirty="0"/>
                  <a:t>]</a:t>
                </a:r>
              </a:p>
            </c:rich>
          </c:tx>
          <c:layout>
            <c:manualLayout>
              <c:xMode val="edge"/>
              <c:yMode val="edge"/>
              <c:x val="1.9517795637198621E-2"/>
              <c:y val="0.45601436265709161"/>
            </c:manualLayout>
          </c:layout>
          <c:spPr>
            <a:noFill/>
            <a:ln w="28954">
              <a:noFill/>
            </a:ln>
          </c:spPr>
        </c:title>
        <c:numFmt formatCode="General" sourceLinked="1"/>
        <c:tickLblPos val="nextTo"/>
        <c:spPr>
          <a:ln w="28954">
            <a:solidFill>
              <a:srgbClr val="FFCC99"/>
            </a:solidFill>
            <a:prstDash val="solid"/>
          </a:ln>
        </c:spPr>
        <c:txPr>
          <a:bodyPr rot="0" vert="horz"/>
          <a:lstStyle/>
          <a:p>
            <a:pPr>
              <a:defRPr sz="912" b="0" i="0" u="none" strike="noStrike" baseline="0">
                <a:solidFill>
                  <a:srgbClr val="000000"/>
                </a:solidFill>
                <a:latin typeface="DIN-Light"/>
                <a:ea typeface="DIN-Light"/>
                <a:cs typeface="DIN-Light"/>
              </a:defRPr>
            </a:pPr>
            <a:endParaRPr lang="hu-HU"/>
          </a:p>
        </c:txPr>
        <c:crossAx val="82207488"/>
        <c:crosses val="autoZero"/>
        <c:crossBetween val="midCat"/>
        <c:minorUnit val="250"/>
      </c:valAx>
      <c:spPr>
        <a:noFill/>
        <a:ln w="28954">
          <a:noFill/>
        </a:ln>
      </c:spPr>
    </c:plotArea>
    <c:legend>
      <c:legendPos val="r"/>
      <c:layout>
        <c:manualLayout>
          <c:xMode val="edge"/>
          <c:yMode val="edge"/>
          <c:x val="0.33209497668182386"/>
          <c:y val="0.87972812792652766"/>
          <c:w val="0.43168771526980493"/>
          <c:h val="3.9497307001795344E-2"/>
        </c:manualLayout>
      </c:layout>
      <c:spPr>
        <a:solidFill>
          <a:srgbClr val="FFFFFF"/>
        </a:solidFill>
        <a:ln w="28954">
          <a:noFill/>
        </a:ln>
      </c:spPr>
      <c:txPr>
        <a:bodyPr/>
        <a:lstStyle/>
        <a:p>
          <a:pPr>
            <a:defRPr sz="1020" b="0" i="0" u="none" strike="noStrike" baseline="0">
              <a:solidFill>
                <a:srgbClr val="000000"/>
              </a:solidFill>
              <a:latin typeface="DIN-Light"/>
              <a:ea typeface="DIN-Light"/>
              <a:cs typeface="DIN-Light"/>
            </a:defRPr>
          </a:pPr>
          <a:endParaRPr lang="hu-HU"/>
        </a:p>
      </c:txPr>
    </c:legend>
    <c:plotVisOnly val="1"/>
    <c:dispBlanksAs val="gap"/>
  </c:chart>
  <c:spPr>
    <a:noFill/>
    <a:ln>
      <a:noFill/>
    </a:ln>
  </c:spPr>
  <c:txPr>
    <a:bodyPr/>
    <a:lstStyle/>
    <a:p>
      <a:pPr>
        <a:defRPr sz="1368" b="0" i="0" u="none" strike="noStrike" baseline="0">
          <a:solidFill>
            <a:srgbClr val="000000"/>
          </a:solidFill>
          <a:latin typeface="DIN-Light"/>
          <a:ea typeface="DIN-Light"/>
          <a:cs typeface="DIN-Light"/>
        </a:defRPr>
      </a:pPr>
      <a:endParaRPr lang="hu-HU"/>
    </a:p>
  </c:txPr>
  <c:externalData r:id="rId1"/>
  <c:userShapes r:id="rId2"/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png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49925</cdr:x>
      <cdr:y>0.498</cdr:y>
    </cdr:from>
    <cdr:to>
      <cdr:x>0.52225</cdr:x>
      <cdr:y>0.5415</cdr:y>
    </cdr:to>
    <cdr:sp macro="" textlink="">
      <cdr:nvSpPr>
        <cdr:cNvPr id="3073" name="Text Box 1"/>
        <cdr:cNvSpPr txBox="1">
          <a:spLocks xmlns:a="http://schemas.openxmlformats.org/drawingml/2006/main" noChangeArrowheads="1"/>
        </cdr:cNvSpPr>
      </cdr:nvSpPr>
      <cdr:spPr bwMode="auto">
        <a:xfrm xmlns:a="http://schemas.openxmlformats.org/drawingml/2006/main">
          <a:off x="4141915" y="2642102"/>
          <a:ext cx="190815" cy="230786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>
          <a:noFill/>
        </a:ln>
        <a:effectLst xmlns:a="http://schemas.openxmlformats.org/drawingml/2006/main"/>
        <a:extLst xmlns:a="http://schemas.openxmlformats.org/drawingml/2006/main">
          <a:ext uri="{909E8E84-426E-40DD-AFC4-6F175D3DCCD1}">
            <a14:hiddenFill xmlns:a14="http://schemas.microsoft.com/office/drawing/2010/main" xmlns="">
              <a:solidFill>
                <a:srgbClr xmlns:mc="http://schemas.openxmlformats.org/markup-compatibility/2006" val="000000" mc:Ignorable="a14" a14:legacySpreadsheetColorIndex="64"/>
              </a:solidFill>
            </a14:hiddenFill>
          </a:ext>
          <a:ext uri="{91240B29-F687-4F45-9708-019B960494DF}">
            <a14:hiddenLine xmlns:a14="http://schemas.microsoft.com/office/drawing/2010/main" xmlns="" w="1">
              <a:solidFill>
                <a:srgbClr xmlns:mc="http://schemas.openxmlformats.org/markup-compatibility/2006" val="FFFFFF" mc:Ignorable="a14" a14:legacySpreadsheetColorIndex="65"/>
              </a:solidFill>
              <a:miter lim="800000"/>
              <a:headEnd/>
              <a:tailEnd/>
            </a14:hiddenLine>
          </a:ext>
          <a:ext uri="{AF507438-7753-43E0-B8FC-AC1667EBCBE1}">
            <a14:hiddenEffects xmlns:a14="http://schemas.microsoft.com/office/drawing/2010/main" xmlns="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cdr:spPr>
      <cdr:txBody>
        <a:bodyPr xmlns:a="http://schemas.openxmlformats.org/drawingml/2006/main" vertOverflow="clip" wrap="square" lIns="36576" tIns="22860" rIns="36576" bIns="22860" anchor="ctr" upright="1"/>
        <a:lstStyle xmlns:a="http://schemas.openxmlformats.org/drawingml/2006/main"/>
        <a:p xmlns:a="http://schemas.openxmlformats.org/drawingml/2006/main">
          <a:pPr algn="ctr" rtl="0">
            <a:defRPr sz="1000"/>
          </a:pPr>
          <a:r>
            <a:rPr lang="de-DE" sz="1200" b="0" i="0" u="none" strike="noStrike" baseline="0">
              <a:solidFill>
                <a:srgbClr val="000000"/>
              </a:solidFill>
              <a:latin typeface="DIN-Light"/>
            </a:rPr>
            <a:t>0</a:t>
          </a:r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890838" cy="496888"/>
          </a:xfrm>
          <a:prstGeom prst="rect">
            <a:avLst/>
          </a:prstGeom>
        </p:spPr>
        <p:txBody>
          <a:bodyPr vert="horz" lIns="90732" tIns="45366" rIns="90732" bIns="45366" rtlCol="0"/>
          <a:lstStyle>
            <a:lvl1pPr algn="l" eaLnBrk="0" hangingPunct="0">
              <a:buClr>
                <a:srgbClr val="000000"/>
              </a:buClr>
              <a:buSzPct val="100000"/>
              <a:buFont typeface="Times New Roman" pitchFamily="18" charset="0"/>
              <a:buNone/>
              <a:defRPr sz="1100">
                <a:latin typeface="Arial" charset="0"/>
                <a:ea typeface="+mn-ea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778250" y="0"/>
            <a:ext cx="2889250" cy="496888"/>
          </a:xfrm>
          <a:prstGeom prst="rect">
            <a:avLst/>
          </a:prstGeom>
        </p:spPr>
        <p:txBody>
          <a:bodyPr vert="horz" lIns="90732" tIns="45366" rIns="90732" bIns="45366" rtlCol="0"/>
          <a:lstStyle>
            <a:lvl1pPr algn="r" eaLnBrk="0" hangingPunct="0">
              <a:buClr>
                <a:srgbClr val="000000"/>
              </a:buClr>
              <a:buSzPct val="100000"/>
              <a:buFont typeface="Times New Roman" pitchFamily="18" charset="0"/>
              <a:buNone/>
              <a:defRPr sz="1100">
                <a:latin typeface="Arial" charset="0"/>
                <a:ea typeface="+mn-ea"/>
              </a:defRPr>
            </a:lvl1pPr>
          </a:lstStyle>
          <a:p>
            <a:pPr>
              <a:defRPr/>
            </a:pPr>
            <a:fld id="{7A8F4461-B5D2-4024-A7CD-03E3FA86D386}" type="datetimeFigureOut">
              <a:rPr lang="de-DE"/>
              <a:pPr>
                <a:defRPr/>
              </a:pPr>
              <a:t>07.10.2013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429750"/>
            <a:ext cx="2890838" cy="496888"/>
          </a:xfrm>
          <a:prstGeom prst="rect">
            <a:avLst/>
          </a:prstGeom>
        </p:spPr>
        <p:txBody>
          <a:bodyPr vert="horz" lIns="90732" tIns="45366" rIns="90732" bIns="45366" rtlCol="0" anchor="b"/>
          <a:lstStyle>
            <a:lvl1pPr algn="l" eaLnBrk="0" hangingPunct="0">
              <a:buClr>
                <a:srgbClr val="000000"/>
              </a:buClr>
              <a:buSzPct val="100000"/>
              <a:buFont typeface="Times New Roman" pitchFamily="18" charset="0"/>
              <a:buNone/>
              <a:defRPr sz="1100">
                <a:latin typeface="Arial" charset="0"/>
                <a:ea typeface="+mn-ea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778250" y="9429750"/>
            <a:ext cx="2889250" cy="496888"/>
          </a:xfrm>
          <a:prstGeom prst="rect">
            <a:avLst/>
          </a:prstGeom>
        </p:spPr>
        <p:txBody>
          <a:bodyPr vert="horz" lIns="90732" tIns="45366" rIns="90732" bIns="45366" rtlCol="0" anchor="b"/>
          <a:lstStyle>
            <a:lvl1pPr algn="r" eaLnBrk="0" hangingPunct="0">
              <a:buClr>
                <a:srgbClr val="000000"/>
              </a:buClr>
              <a:buSzPct val="100000"/>
              <a:buFont typeface="Times New Roman" pitchFamily="18" charset="0"/>
              <a:buNone/>
              <a:defRPr sz="1100">
                <a:latin typeface="Arial" charset="0"/>
                <a:ea typeface="+mn-ea"/>
              </a:defRPr>
            </a:lvl1pPr>
          </a:lstStyle>
          <a:p>
            <a:pPr>
              <a:defRPr/>
            </a:pPr>
            <a:fld id="{481FA878-FED9-4E44-9284-2ECC10E4E191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xmlns="" val="7029352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AutoShape 1"/>
          <p:cNvSpPr>
            <a:spLocks noChangeArrowheads="1"/>
          </p:cNvSpPr>
          <p:nvPr/>
        </p:nvSpPr>
        <p:spPr bwMode="auto">
          <a:xfrm>
            <a:off x="0" y="0"/>
            <a:ext cx="6669088" cy="9928225"/>
          </a:xfrm>
          <a:prstGeom prst="roundRect">
            <a:avLst>
              <a:gd name="adj" fmla="val 19"/>
            </a:avLst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36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732" tIns="45366" rIns="90732" bIns="45366" anchor="ctr"/>
          <a:lstStyle/>
          <a:p>
            <a:pPr eaLnBrk="0" hangingPunct="0">
              <a:buClr>
                <a:srgbClr val="000000"/>
              </a:buClr>
              <a:buSzPct val="100000"/>
              <a:buFont typeface="Times New Roman" pitchFamily="18" charset="0"/>
              <a:buNone/>
            </a:pPr>
            <a:endParaRPr lang="de-DE"/>
          </a:p>
        </p:txBody>
      </p:sp>
      <p:sp>
        <p:nvSpPr>
          <p:cNvPr id="28675" name="AutoShape 2"/>
          <p:cNvSpPr>
            <a:spLocks noChangeArrowheads="1"/>
          </p:cNvSpPr>
          <p:nvPr/>
        </p:nvSpPr>
        <p:spPr bwMode="auto">
          <a:xfrm>
            <a:off x="0" y="0"/>
            <a:ext cx="6669088" cy="9928225"/>
          </a:xfrm>
          <a:prstGeom prst="roundRect">
            <a:avLst>
              <a:gd name="adj" fmla="val 19"/>
            </a:avLst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90732" tIns="45366" rIns="90732" bIns="45366" anchor="ctr"/>
          <a:lstStyle/>
          <a:p>
            <a:pPr eaLnBrk="0" hangingPunct="0">
              <a:buClr>
                <a:srgbClr val="000000"/>
              </a:buClr>
              <a:buSzPct val="100000"/>
              <a:buFont typeface="Times New Roman" pitchFamily="18" charset="0"/>
              <a:buNone/>
            </a:pPr>
            <a:endParaRPr lang="de-DE"/>
          </a:p>
        </p:txBody>
      </p:sp>
      <p:sp>
        <p:nvSpPr>
          <p:cNvPr id="28676" name="AutoShape 3"/>
          <p:cNvSpPr>
            <a:spLocks noChangeArrowheads="1"/>
          </p:cNvSpPr>
          <p:nvPr/>
        </p:nvSpPr>
        <p:spPr bwMode="auto">
          <a:xfrm>
            <a:off x="0" y="0"/>
            <a:ext cx="6669088" cy="9928225"/>
          </a:xfrm>
          <a:prstGeom prst="roundRect">
            <a:avLst>
              <a:gd name="adj" fmla="val 19"/>
            </a:avLst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90732" tIns="45366" rIns="90732" bIns="45366" anchor="ctr"/>
          <a:lstStyle/>
          <a:p>
            <a:pPr eaLnBrk="0" hangingPunct="0">
              <a:buClr>
                <a:srgbClr val="000000"/>
              </a:buClr>
              <a:buSzPct val="100000"/>
              <a:buFont typeface="Times New Roman" pitchFamily="18" charset="0"/>
              <a:buNone/>
            </a:pPr>
            <a:endParaRPr lang="de-DE"/>
          </a:p>
        </p:txBody>
      </p:sp>
      <p:sp>
        <p:nvSpPr>
          <p:cNvPr id="28677" name="AutoShape 4"/>
          <p:cNvSpPr>
            <a:spLocks noChangeArrowheads="1"/>
          </p:cNvSpPr>
          <p:nvPr/>
        </p:nvSpPr>
        <p:spPr bwMode="auto">
          <a:xfrm>
            <a:off x="0" y="0"/>
            <a:ext cx="6669088" cy="9928225"/>
          </a:xfrm>
          <a:prstGeom prst="roundRect">
            <a:avLst>
              <a:gd name="adj" fmla="val 19"/>
            </a:avLst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90732" tIns="45366" rIns="90732" bIns="45366" anchor="ctr"/>
          <a:lstStyle/>
          <a:p>
            <a:pPr eaLnBrk="0" hangingPunct="0">
              <a:buClr>
                <a:srgbClr val="000000"/>
              </a:buClr>
              <a:buSzPct val="100000"/>
              <a:buFont typeface="Times New Roman" pitchFamily="18" charset="0"/>
              <a:buNone/>
            </a:pPr>
            <a:endParaRPr lang="de-DE"/>
          </a:p>
        </p:txBody>
      </p:sp>
      <p:sp>
        <p:nvSpPr>
          <p:cNvPr id="28678" name="AutoShape 5"/>
          <p:cNvSpPr>
            <a:spLocks noChangeArrowheads="1"/>
          </p:cNvSpPr>
          <p:nvPr/>
        </p:nvSpPr>
        <p:spPr bwMode="auto">
          <a:xfrm>
            <a:off x="0" y="0"/>
            <a:ext cx="6669088" cy="9928225"/>
          </a:xfrm>
          <a:prstGeom prst="roundRect">
            <a:avLst>
              <a:gd name="adj" fmla="val 19"/>
            </a:avLst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90732" tIns="45366" rIns="90732" bIns="45366" anchor="ctr"/>
          <a:lstStyle/>
          <a:p>
            <a:pPr eaLnBrk="0" hangingPunct="0">
              <a:buClr>
                <a:srgbClr val="000000"/>
              </a:buClr>
              <a:buSzPct val="100000"/>
              <a:buFont typeface="Times New Roman" pitchFamily="18" charset="0"/>
              <a:buNone/>
            </a:pPr>
            <a:endParaRPr lang="de-DE"/>
          </a:p>
        </p:txBody>
      </p:sp>
      <p:sp>
        <p:nvSpPr>
          <p:cNvPr id="3078" name="Rectangle 6"/>
          <p:cNvSpPr>
            <a:spLocks noGrp="1" noChangeArrowheads="1"/>
          </p:cNvSpPr>
          <p:nvPr>
            <p:ph type="hdr"/>
          </p:nvPr>
        </p:nvSpPr>
        <p:spPr bwMode="auto">
          <a:xfrm>
            <a:off x="0" y="0"/>
            <a:ext cx="2882900" cy="488950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90994" tIns="45497" rIns="90994" bIns="45497" numCol="1" anchor="t" anchorCtr="0" compatLnSpc="1">
            <a:prstTxWarp prst="textNoShape">
              <a:avLst/>
            </a:prstTxWarp>
          </a:bodyPr>
          <a:lstStyle>
            <a:lvl1pPr defTabSz="430032" eaLnBrk="1" hangingPunct="0">
              <a:buClr>
                <a:srgbClr val="000000"/>
              </a:buClr>
              <a:buSzPct val="100000"/>
              <a:buFont typeface="Times New Roman" pitchFamily="18" charset="0"/>
              <a:buNone/>
              <a:tabLst>
                <a:tab pos="693092" algn="l"/>
                <a:tab pos="1386183" algn="l"/>
                <a:tab pos="2079275" algn="l"/>
                <a:tab pos="2772367" algn="l"/>
              </a:tabLst>
              <a:defRPr sz="1100">
                <a:solidFill>
                  <a:srgbClr val="000000"/>
                </a:solidFill>
                <a:latin typeface="Times New Roman" pitchFamily="18" charset="0"/>
                <a:ea typeface="+mn-ea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079" name="Rectangle 7"/>
          <p:cNvSpPr>
            <a:spLocks noGrp="1" noChangeArrowheads="1"/>
          </p:cNvSpPr>
          <p:nvPr>
            <p:ph type="dt"/>
          </p:nvPr>
        </p:nvSpPr>
        <p:spPr bwMode="auto">
          <a:xfrm>
            <a:off x="3778250" y="0"/>
            <a:ext cx="2881313" cy="488950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90994" tIns="45497" rIns="90994" bIns="45497" numCol="1" anchor="t" anchorCtr="0" compatLnSpc="1">
            <a:prstTxWarp prst="textNoShape">
              <a:avLst/>
            </a:prstTxWarp>
          </a:bodyPr>
          <a:lstStyle>
            <a:lvl1pPr algn="r" defTabSz="430032" eaLnBrk="1" hangingPunct="0">
              <a:buClr>
                <a:srgbClr val="000000"/>
              </a:buClr>
              <a:buSzPct val="100000"/>
              <a:buFont typeface="Times New Roman" pitchFamily="18" charset="0"/>
              <a:buNone/>
              <a:tabLst>
                <a:tab pos="693092" algn="l"/>
                <a:tab pos="1386183" algn="l"/>
                <a:tab pos="2079275" algn="l"/>
                <a:tab pos="2772367" algn="l"/>
              </a:tabLst>
              <a:defRPr sz="1100">
                <a:solidFill>
                  <a:srgbClr val="000000"/>
                </a:solidFill>
                <a:latin typeface="Times New Roman" pitchFamily="18" charset="0"/>
                <a:ea typeface="+mn-ea"/>
              </a:defRPr>
            </a:lvl1pPr>
          </a:lstStyle>
          <a:p>
            <a:pPr>
              <a:defRPr/>
            </a:pPr>
            <a:r>
              <a:rPr lang="de-DE"/>
              <a:t>18.11.08</a:t>
            </a:r>
          </a:p>
        </p:txBody>
      </p:sp>
      <p:sp>
        <p:nvSpPr>
          <p:cNvPr id="28681" name="Rectangle 8"/>
          <p:cNvSpPr>
            <a:spLocks noGrp="1" noRot="1" noChangeAspect="1" noChangeArrowheads="1"/>
          </p:cNvSpPr>
          <p:nvPr>
            <p:ph type="sldImg"/>
          </p:nvPr>
        </p:nvSpPr>
        <p:spPr bwMode="auto">
          <a:xfrm>
            <a:off x="858838" y="744538"/>
            <a:ext cx="4954587" cy="3716337"/>
          </a:xfrm>
          <a:prstGeom prst="rect">
            <a:avLst/>
          </a:prstGeom>
          <a:solidFill>
            <a:srgbClr val="FFFFFF"/>
          </a:solidFill>
          <a:ln w="9360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081" name="Rectangle 9"/>
          <p:cNvSpPr>
            <a:spLocks noGrp="1" noChangeArrowheads="1"/>
          </p:cNvSpPr>
          <p:nvPr>
            <p:ph type="body"/>
          </p:nvPr>
        </p:nvSpPr>
        <p:spPr bwMode="auto">
          <a:xfrm>
            <a:off x="666750" y="4714875"/>
            <a:ext cx="5327650" cy="4462463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90994" tIns="45497" rIns="90994" bIns="45497" numCol="1" anchor="t" anchorCtr="0" compatLnSpc="1">
            <a:prstTxWarp prst="textNoShape">
              <a:avLst/>
            </a:prstTxWarp>
          </a:bodyPr>
          <a:lstStyle/>
          <a:p>
            <a:pPr lvl="0"/>
            <a:endParaRPr lang="de-DE" noProof="0" smtClean="0"/>
          </a:p>
        </p:txBody>
      </p:sp>
      <p:sp>
        <p:nvSpPr>
          <p:cNvPr id="3082" name="Rectangle 10"/>
          <p:cNvSpPr>
            <a:spLocks noGrp="1" noChangeArrowheads="1"/>
          </p:cNvSpPr>
          <p:nvPr>
            <p:ph type="ftr"/>
          </p:nvPr>
        </p:nvSpPr>
        <p:spPr bwMode="auto">
          <a:xfrm>
            <a:off x="0" y="9426575"/>
            <a:ext cx="2882900" cy="490538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90994" tIns="45497" rIns="90994" bIns="45497" numCol="1" anchor="b" anchorCtr="0" compatLnSpc="1">
            <a:prstTxWarp prst="textNoShape">
              <a:avLst/>
            </a:prstTxWarp>
          </a:bodyPr>
          <a:lstStyle>
            <a:lvl1pPr defTabSz="430032" eaLnBrk="1" hangingPunct="0">
              <a:buClr>
                <a:srgbClr val="000000"/>
              </a:buClr>
              <a:buSzPct val="100000"/>
              <a:buFont typeface="Times New Roman" pitchFamily="18" charset="0"/>
              <a:buNone/>
              <a:tabLst>
                <a:tab pos="693092" algn="l"/>
                <a:tab pos="1386183" algn="l"/>
                <a:tab pos="2079275" algn="l"/>
                <a:tab pos="2772367" algn="l"/>
              </a:tabLst>
              <a:defRPr sz="1100">
                <a:solidFill>
                  <a:srgbClr val="000000"/>
                </a:solidFill>
                <a:latin typeface="Times New Roman" pitchFamily="18" charset="0"/>
                <a:ea typeface="+mn-ea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083" name="Rectangle 11"/>
          <p:cNvSpPr>
            <a:spLocks noGrp="1" noChangeArrowheads="1"/>
          </p:cNvSpPr>
          <p:nvPr>
            <p:ph type="sldNum"/>
          </p:nvPr>
        </p:nvSpPr>
        <p:spPr bwMode="auto">
          <a:xfrm>
            <a:off x="3778250" y="9426575"/>
            <a:ext cx="2881313" cy="490538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90994" tIns="45497" rIns="90994" bIns="45497" numCol="1" anchor="b" anchorCtr="0" compatLnSpc="1">
            <a:prstTxWarp prst="textNoShape">
              <a:avLst/>
            </a:prstTxWarp>
          </a:bodyPr>
          <a:lstStyle>
            <a:lvl1pPr algn="r" defTabSz="430032" eaLnBrk="1" hangingPunct="0">
              <a:buClr>
                <a:srgbClr val="000000"/>
              </a:buClr>
              <a:buSzPct val="100000"/>
              <a:buFont typeface="Times New Roman" pitchFamily="18" charset="0"/>
              <a:buNone/>
              <a:tabLst>
                <a:tab pos="693092" algn="l"/>
                <a:tab pos="1386183" algn="l"/>
                <a:tab pos="2079275" algn="l"/>
                <a:tab pos="2772367" algn="l"/>
              </a:tabLst>
              <a:defRPr sz="1100">
                <a:solidFill>
                  <a:srgbClr val="000000"/>
                </a:solidFill>
                <a:latin typeface="Times New Roman" pitchFamily="18" charset="0"/>
                <a:ea typeface="+mn-ea"/>
              </a:defRPr>
            </a:lvl1pPr>
          </a:lstStyle>
          <a:p>
            <a:pPr>
              <a:defRPr/>
            </a:pPr>
            <a:fld id="{0F4AE0A6-AEAC-4538-8811-A326A0FEB4F5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xmlns="" val="631375859"/>
      </p:ext>
    </p:extLst>
  </p:cSld>
  <p:clrMap bg1="lt1" tx1="dk1" bg2="lt2" tx2="dk2" accent1="accent1" accent2="accent2" accent3="accent3" accent4="accent4" accent5="accent5" accent6="accent6" hlink="hlink" folHlink="folHlink"/>
  <p:hf hdr="0" ftr="0"/>
  <p:notesStyle>
    <a:lvl1pPr algn="l" defTabSz="449263" rtl="0" eaLnBrk="0" fontAlgn="base" hangingPunct="0">
      <a:spcBef>
        <a:spcPct val="30000"/>
      </a:spcBef>
      <a:spcAft>
        <a:spcPct val="0"/>
      </a:spcAft>
      <a:buClr>
        <a:srgbClr val="000000"/>
      </a:buClr>
      <a:buSzPct val="100000"/>
      <a:buFont typeface="Times New Roman" pitchFamily="18" charset="0"/>
      <a:defRPr sz="1200" kern="1200">
        <a:solidFill>
          <a:srgbClr val="000000"/>
        </a:solidFill>
        <a:latin typeface="Times New Roman" pitchFamily="18" charset="0"/>
        <a:ea typeface="+mn-ea"/>
        <a:cs typeface="+mn-cs"/>
      </a:defRPr>
    </a:lvl1pPr>
    <a:lvl2pPr marL="742950" indent="-285750" algn="l" defTabSz="449263" rtl="0" eaLnBrk="0" fontAlgn="base" hangingPunct="0">
      <a:spcBef>
        <a:spcPct val="30000"/>
      </a:spcBef>
      <a:spcAft>
        <a:spcPct val="0"/>
      </a:spcAft>
      <a:buClr>
        <a:srgbClr val="000000"/>
      </a:buClr>
      <a:buSzPct val="100000"/>
      <a:buFont typeface="Times New Roman" pitchFamily="18" charset="0"/>
      <a:defRPr sz="1200" kern="1200">
        <a:solidFill>
          <a:srgbClr val="000000"/>
        </a:solidFill>
        <a:latin typeface="Times New Roman" pitchFamily="18" charset="0"/>
        <a:ea typeface="+mn-ea"/>
        <a:cs typeface="+mn-cs"/>
      </a:defRPr>
    </a:lvl2pPr>
    <a:lvl3pPr marL="1143000" indent="-228600" algn="l" defTabSz="449263" rtl="0" eaLnBrk="0" fontAlgn="base" hangingPunct="0">
      <a:spcBef>
        <a:spcPct val="30000"/>
      </a:spcBef>
      <a:spcAft>
        <a:spcPct val="0"/>
      </a:spcAft>
      <a:buClr>
        <a:srgbClr val="000000"/>
      </a:buClr>
      <a:buSzPct val="100000"/>
      <a:buFont typeface="Times New Roman" pitchFamily="18" charset="0"/>
      <a:defRPr sz="1200" kern="1200">
        <a:solidFill>
          <a:srgbClr val="000000"/>
        </a:solidFill>
        <a:latin typeface="Times New Roman" pitchFamily="18" charset="0"/>
        <a:ea typeface="+mn-ea"/>
        <a:cs typeface="+mn-cs"/>
      </a:defRPr>
    </a:lvl3pPr>
    <a:lvl4pPr marL="1600200" indent="-228600" algn="l" defTabSz="449263" rtl="0" eaLnBrk="0" fontAlgn="base" hangingPunct="0">
      <a:spcBef>
        <a:spcPct val="30000"/>
      </a:spcBef>
      <a:spcAft>
        <a:spcPct val="0"/>
      </a:spcAft>
      <a:buClr>
        <a:srgbClr val="000000"/>
      </a:buClr>
      <a:buSzPct val="100000"/>
      <a:buFont typeface="Times New Roman" pitchFamily="18" charset="0"/>
      <a:defRPr sz="1200" kern="1200">
        <a:solidFill>
          <a:srgbClr val="000000"/>
        </a:solidFill>
        <a:latin typeface="Times New Roman" pitchFamily="18" charset="0"/>
        <a:ea typeface="+mn-ea"/>
        <a:cs typeface="+mn-cs"/>
      </a:defRPr>
    </a:lvl4pPr>
    <a:lvl5pPr marL="2057400" indent="-228600" algn="l" defTabSz="449263" rtl="0" eaLnBrk="0" fontAlgn="base" hangingPunct="0">
      <a:spcBef>
        <a:spcPct val="30000"/>
      </a:spcBef>
      <a:spcAft>
        <a:spcPct val="0"/>
      </a:spcAft>
      <a:buClr>
        <a:srgbClr val="000000"/>
      </a:buClr>
      <a:buSzPct val="100000"/>
      <a:buFont typeface="Times New Roman" pitchFamily="18" charset="0"/>
      <a:defRPr sz="1200" kern="1200">
        <a:solidFill>
          <a:srgbClr val="000000"/>
        </a:solidFill>
        <a:latin typeface="Times New Roman" pitchFamily="18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Rectangle 7"/>
          <p:cNvSpPr>
            <a:spLocks noGrp="1" noChangeArrowheads="1"/>
          </p:cNvSpPr>
          <p:nvPr>
            <p:ph type="dt" sz="quarter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defTabSz="428625" eaLnBrk="0" hangingPunct="0">
              <a:tabLst>
                <a:tab pos="690563" algn="l"/>
                <a:tab pos="1384300" algn="l"/>
                <a:tab pos="2076450" algn="l"/>
                <a:tab pos="2770188" algn="l"/>
              </a:tabLst>
              <a:defRPr>
                <a:solidFill>
                  <a:schemeClr val="bg1"/>
                </a:solidFill>
                <a:latin typeface="Arial" charset="0"/>
                <a:ea typeface="Lucida Sans Unicode" pitchFamily="34" charset="0"/>
                <a:cs typeface="Lucida Sans Unicode" pitchFamily="34" charset="0"/>
              </a:defRPr>
            </a:lvl1pPr>
            <a:lvl2pPr defTabSz="428625" eaLnBrk="0" hangingPunct="0">
              <a:tabLst>
                <a:tab pos="690563" algn="l"/>
                <a:tab pos="1384300" algn="l"/>
                <a:tab pos="2076450" algn="l"/>
                <a:tab pos="2770188" algn="l"/>
              </a:tabLst>
              <a:defRPr>
                <a:solidFill>
                  <a:schemeClr val="bg1"/>
                </a:solidFill>
                <a:latin typeface="Arial" charset="0"/>
                <a:ea typeface="Lucida Sans Unicode" pitchFamily="34" charset="0"/>
                <a:cs typeface="Lucida Sans Unicode" pitchFamily="34" charset="0"/>
              </a:defRPr>
            </a:lvl2pPr>
            <a:lvl3pPr defTabSz="428625" eaLnBrk="0" hangingPunct="0">
              <a:tabLst>
                <a:tab pos="690563" algn="l"/>
                <a:tab pos="1384300" algn="l"/>
                <a:tab pos="2076450" algn="l"/>
                <a:tab pos="2770188" algn="l"/>
              </a:tabLst>
              <a:defRPr>
                <a:solidFill>
                  <a:schemeClr val="bg1"/>
                </a:solidFill>
                <a:latin typeface="Arial" charset="0"/>
                <a:ea typeface="Lucida Sans Unicode" pitchFamily="34" charset="0"/>
                <a:cs typeface="Lucida Sans Unicode" pitchFamily="34" charset="0"/>
              </a:defRPr>
            </a:lvl3pPr>
            <a:lvl4pPr defTabSz="428625" eaLnBrk="0" hangingPunct="0">
              <a:tabLst>
                <a:tab pos="690563" algn="l"/>
                <a:tab pos="1384300" algn="l"/>
                <a:tab pos="2076450" algn="l"/>
                <a:tab pos="2770188" algn="l"/>
              </a:tabLst>
              <a:defRPr>
                <a:solidFill>
                  <a:schemeClr val="bg1"/>
                </a:solidFill>
                <a:latin typeface="Arial" charset="0"/>
                <a:ea typeface="Lucida Sans Unicode" pitchFamily="34" charset="0"/>
                <a:cs typeface="Lucida Sans Unicode" pitchFamily="34" charset="0"/>
              </a:defRPr>
            </a:lvl4pPr>
            <a:lvl5pPr defTabSz="428625" eaLnBrk="0" hangingPunct="0">
              <a:tabLst>
                <a:tab pos="690563" algn="l"/>
                <a:tab pos="1384300" algn="l"/>
                <a:tab pos="2076450" algn="l"/>
                <a:tab pos="2770188" algn="l"/>
              </a:tabLst>
              <a:defRPr>
                <a:solidFill>
                  <a:schemeClr val="bg1"/>
                </a:solidFill>
                <a:latin typeface="Arial" charset="0"/>
                <a:ea typeface="Lucida Sans Unicode" pitchFamily="34" charset="0"/>
                <a:cs typeface="Lucida Sans Unicode" pitchFamily="34" charset="0"/>
              </a:defRPr>
            </a:lvl5pPr>
            <a:lvl6pPr marL="2514600" indent="-228600" defTabSz="428625" eaLnBrk="0" fontAlgn="base" hangingPunct="0">
              <a:spcBef>
                <a:spcPct val="0"/>
              </a:spcBef>
              <a:spcAft>
                <a:spcPct val="0"/>
              </a:spcAft>
              <a:tabLst>
                <a:tab pos="690563" algn="l"/>
                <a:tab pos="1384300" algn="l"/>
                <a:tab pos="2076450" algn="l"/>
                <a:tab pos="2770188" algn="l"/>
              </a:tabLst>
              <a:defRPr>
                <a:solidFill>
                  <a:schemeClr val="bg1"/>
                </a:solidFill>
                <a:latin typeface="Arial" charset="0"/>
                <a:ea typeface="Lucida Sans Unicode" pitchFamily="34" charset="0"/>
                <a:cs typeface="Lucida Sans Unicode" pitchFamily="34" charset="0"/>
              </a:defRPr>
            </a:lvl6pPr>
            <a:lvl7pPr marL="2971800" indent="-228600" defTabSz="428625" eaLnBrk="0" fontAlgn="base" hangingPunct="0">
              <a:spcBef>
                <a:spcPct val="0"/>
              </a:spcBef>
              <a:spcAft>
                <a:spcPct val="0"/>
              </a:spcAft>
              <a:tabLst>
                <a:tab pos="690563" algn="l"/>
                <a:tab pos="1384300" algn="l"/>
                <a:tab pos="2076450" algn="l"/>
                <a:tab pos="2770188" algn="l"/>
              </a:tabLst>
              <a:defRPr>
                <a:solidFill>
                  <a:schemeClr val="bg1"/>
                </a:solidFill>
                <a:latin typeface="Arial" charset="0"/>
                <a:ea typeface="Lucida Sans Unicode" pitchFamily="34" charset="0"/>
                <a:cs typeface="Lucida Sans Unicode" pitchFamily="34" charset="0"/>
              </a:defRPr>
            </a:lvl7pPr>
            <a:lvl8pPr marL="3429000" indent="-228600" defTabSz="428625" eaLnBrk="0" fontAlgn="base" hangingPunct="0">
              <a:spcBef>
                <a:spcPct val="0"/>
              </a:spcBef>
              <a:spcAft>
                <a:spcPct val="0"/>
              </a:spcAft>
              <a:tabLst>
                <a:tab pos="690563" algn="l"/>
                <a:tab pos="1384300" algn="l"/>
                <a:tab pos="2076450" algn="l"/>
                <a:tab pos="2770188" algn="l"/>
              </a:tabLst>
              <a:defRPr>
                <a:solidFill>
                  <a:schemeClr val="bg1"/>
                </a:solidFill>
                <a:latin typeface="Arial" charset="0"/>
                <a:ea typeface="Lucida Sans Unicode" pitchFamily="34" charset="0"/>
                <a:cs typeface="Lucida Sans Unicode" pitchFamily="34" charset="0"/>
              </a:defRPr>
            </a:lvl8pPr>
            <a:lvl9pPr marL="3886200" indent="-228600" defTabSz="428625" eaLnBrk="0" fontAlgn="base" hangingPunct="0">
              <a:spcBef>
                <a:spcPct val="0"/>
              </a:spcBef>
              <a:spcAft>
                <a:spcPct val="0"/>
              </a:spcAft>
              <a:tabLst>
                <a:tab pos="690563" algn="l"/>
                <a:tab pos="1384300" algn="l"/>
                <a:tab pos="2076450" algn="l"/>
                <a:tab pos="2770188" algn="l"/>
              </a:tabLst>
              <a:defRPr>
                <a:solidFill>
                  <a:schemeClr val="bg1"/>
                </a:solidFill>
                <a:latin typeface="Arial" charset="0"/>
                <a:ea typeface="Lucida Sans Unicode" pitchFamily="34" charset="0"/>
                <a:cs typeface="Lucida Sans Unicode" pitchFamily="34" charset="0"/>
              </a:defRPr>
            </a:lvl9pPr>
          </a:lstStyle>
          <a:p>
            <a:pPr eaLnBrk="1"/>
            <a:r>
              <a:rPr lang="de-DE" smtClean="0">
                <a:solidFill>
                  <a:srgbClr val="000000"/>
                </a:solidFill>
                <a:latin typeface="Times New Roman" pitchFamily="18" charset="0"/>
              </a:rPr>
              <a:t>18.11.08</a:t>
            </a:r>
          </a:p>
        </p:txBody>
      </p:sp>
      <p:sp>
        <p:nvSpPr>
          <p:cNvPr id="29699" name="Rectangle 11"/>
          <p:cNvSpPr>
            <a:spLocks noGrp="1" noChangeArrowheads="1"/>
          </p:cNvSpPr>
          <p:nvPr>
            <p:ph type="sldNum" sz="quarter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defTabSz="428625" eaLnBrk="0" hangingPunct="0">
              <a:tabLst>
                <a:tab pos="690563" algn="l"/>
                <a:tab pos="1384300" algn="l"/>
                <a:tab pos="2076450" algn="l"/>
                <a:tab pos="2770188" algn="l"/>
              </a:tabLst>
              <a:defRPr>
                <a:solidFill>
                  <a:schemeClr val="bg1"/>
                </a:solidFill>
                <a:latin typeface="Arial" charset="0"/>
                <a:ea typeface="Lucida Sans Unicode" pitchFamily="34" charset="0"/>
                <a:cs typeface="Lucida Sans Unicode" pitchFamily="34" charset="0"/>
              </a:defRPr>
            </a:lvl1pPr>
            <a:lvl2pPr defTabSz="428625" eaLnBrk="0" hangingPunct="0">
              <a:tabLst>
                <a:tab pos="690563" algn="l"/>
                <a:tab pos="1384300" algn="l"/>
                <a:tab pos="2076450" algn="l"/>
                <a:tab pos="2770188" algn="l"/>
              </a:tabLst>
              <a:defRPr>
                <a:solidFill>
                  <a:schemeClr val="bg1"/>
                </a:solidFill>
                <a:latin typeface="Arial" charset="0"/>
                <a:ea typeface="Lucida Sans Unicode" pitchFamily="34" charset="0"/>
                <a:cs typeface="Lucida Sans Unicode" pitchFamily="34" charset="0"/>
              </a:defRPr>
            </a:lvl2pPr>
            <a:lvl3pPr defTabSz="428625" eaLnBrk="0" hangingPunct="0">
              <a:tabLst>
                <a:tab pos="690563" algn="l"/>
                <a:tab pos="1384300" algn="l"/>
                <a:tab pos="2076450" algn="l"/>
                <a:tab pos="2770188" algn="l"/>
              </a:tabLst>
              <a:defRPr>
                <a:solidFill>
                  <a:schemeClr val="bg1"/>
                </a:solidFill>
                <a:latin typeface="Arial" charset="0"/>
                <a:ea typeface="Lucida Sans Unicode" pitchFamily="34" charset="0"/>
                <a:cs typeface="Lucida Sans Unicode" pitchFamily="34" charset="0"/>
              </a:defRPr>
            </a:lvl3pPr>
            <a:lvl4pPr defTabSz="428625" eaLnBrk="0" hangingPunct="0">
              <a:tabLst>
                <a:tab pos="690563" algn="l"/>
                <a:tab pos="1384300" algn="l"/>
                <a:tab pos="2076450" algn="l"/>
                <a:tab pos="2770188" algn="l"/>
              </a:tabLst>
              <a:defRPr>
                <a:solidFill>
                  <a:schemeClr val="bg1"/>
                </a:solidFill>
                <a:latin typeface="Arial" charset="0"/>
                <a:ea typeface="Lucida Sans Unicode" pitchFamily="34" charset="0"/>
                <a:cs typeface="Lucida Sans Unicode" pitchFamily="34" charset="0"/>
              </a:defRPr>
            </a:lvl4pPr>
            <a:lvl5pPr defTabSz="428625" eaLnBrk="0" hangingPunct="0">
              <a:tabLst>
                <a:tab pos="690563" algn="l"/>
                <a:tab pos="1384300" algn="l"/>
                <a:tab pos="2076450" algn="l"/>
                <a:tab pos="2770188" algn="l"/>
              </a:tabLst>
              <a:defRPr>
                <a:solidFill>
                  <a:schemeClr val="bg1"/>
                </a:solidFill>
                <a:latin typeface="Arial" charset="0"/>
                <a:ea typeface="Lucida Sans Unicode" pitchFamily="34" charset="0"/>
                <a:cs typeface="Lucida Sans Unicode" pitchFamily="34" charset="0"/>
              </a:defRPr>
            </a:lvl5pPr>
            <a:lvl6pPr marL="2514600" indent="-228600" defTabSz="428625" eaLnBrk="0" fontAlgn="base" hangingPunct="0">
              <a:spcBef>
                <a:spcPct val="0"/>
              </a:spcBef>
              <a:spcAft>
                <a:spcPct val="0"/>
              </a:spcAft>
              <a:tabLst>
                <a:tab pos="690563" algn="l"/>
                <a:tab pos="1384300" algn="l"/>
                <a:tab pos="2076450" algn="l"/>
                <a:tab pos="2770188" algn="l"/>
              </a:tabLst>
              <a:defRPr>
                <a:solidFill>
                  <a:schemeClr val="bg1"/>
                </a:solidFill>
                <a:latin typeface="Arial" charset="0"/>
                <a:ea typeface="Lucida Sans Unicode" pitchFamily="34" charset="0"/>
                <a:cs typeface="Lucida Sans Unicode" pitchFamily="34" charset="0"/>
              </a:defRPr>
            </a:lvl6pPr>
            <a:lvl7pPr marL="2971800" indent="-228600" defTabSz="428625" eaLnBrk="0" fontAlgn="base" hangingPunct="0">
              <a:spcBef>
                <a:spcPct val="0"/>
              </a:spcBef>
              <a:spcAft>
                <a:spcPct val="0"/>
              </a:spcAft>
              <a:tabLst>
                <a:tab pos="690563" algn="l"/>
                <a:tab pos="1384300" algn="l"/>
                <a:tab pos="2076450" algn="l"/>
                <a:tab pos="2770188" algn="l"/>
              </a:tabLst>
              <a:defRPr>
                <a:solidFill>
                  <a:schemeClr val="bg1"/>
                </a:solidFill>
                <a:latin typeface="Arial" charset="0"/>
                <a:ea typeface="Lucida Sans Unicode" pitchFamily="34" charset="0"/>
                <a:cs typeface="Lucida Sans Unicode" pitchFamily="34" charset="0"/>
              </a:defRPr>
            </a:lvl7pPr>
            <a:lvl8pPr marL="3429000" indent="-228600" defTabSz="428625" eaLnBrk="0" fontAlgn="base" hangingPunct="0">
              <a:spcBef>
                <a:spcPct val="0"/>
              </a:spcBef>
              <a:spcAft>
                <a:spcPct val="0"/>
              </a:spcAft>
              <a:tabLst>
                <a:tab pos="690563" algn="l"/>
                <a:tab pos="1384300" algn="l"/>
                <a:tab pos="2076450" algn="l"/>
                <a:tab pos="2770188" algn="l"/>
              </a:tabLst>
              <a:defRPr>
                <a:solidFill>
                  <a:schemeClr val="bg1"/>
                </a:solidFill>
                <a:latin typeface="Arial" charset="0"/>
                <a:ea typeface="Lucida Sans Unicode" pitchFamily="34" charset="0"/>
                <a:cs typeface="Lucida Sans Unicode" pitchFamily="34" charset="0"/>
              </a:defRPr>
            </a:lvl8pPr>
            <a:lvl9pPr marL="3886200" indent="-228600" defTabSz="428625" eaLnBrk="0" fontAlgn="base" hangingPunct="0">
              <a:spcBef>
                <a:spcPct val="0"/>
              </a:spcBef>
              <a:spcAft>
                <a:spcPct val="0"/>
              </a:spcAft>
              <a:tabLst>
                <a:tab pos="690563" algn="l"/>
                <a:tab pos="1384300" algn="l"/>
                <a:tab pos="2076450" algn="l"/>
                <a:tab pos="2770188" algn="l"/>
              </a:tabLst>
              <a:defRPr>
                <a:solidFill>
                  <a:schemeClr val="bg1"/>
                </a:solidFill>
                <a:latin typeface="Arial" charset="0"/>
                <a:ea typeface="Lucida Sans Unicode" pitchFamily="34" charset="0"/>
                <a:cs typeface="Lucida Sans Unicode" pitchFamily="34" charset="0"/>
              </a:defRPr>
            </a:lvl9pPr>
          </a:lstStyle>
          <a:p>
            <a:pPr eaLnBrk="1"/>
            <a:fld id="{730B5774-728D-46E8-BD68-7BEA250EB2FA}" type="slidenum">
              <a:rPr lang="de-DE" smtClean="0">
                <a:solidFill>
                  <a:srgbClr val="000000"/>
                </a:solidFill>
                <a:latin typeface="Times New Roman" pitchFamily="18" charset="0"/>
              </a:rPr>
              <a:pPr eaLnBrk="1"/>
              <a:t>1</a:t>
            </a:fld>
            <a:endParaRPr lang="de-DE" smtClean="0">
              <a:solidFill>
                <a:srgbClr val="000000"/>
              </a:solidFill>
              <a:latin typeface="Times New Roman" pitchFamily="18" charset="0"/>
            </a:endParaRPr>
          </a:p>
        </p:txBody>
      </p:sp>
      <p:sp>
        <p:nvSpPr>
          <p:cNvPr id="29700" name="Text Box 1"/>
          <p:cNvSpPr txBox="1">
            <a:spLocks noChangeArrowheads="1"/>
          </p:cNvSpPr>
          <p:nvPr/>
        </p:nvSpPr>
        <p:spPr bwMode="auto">
          <a:xfrm>
            <a:off x="733425" y="744538"/>
            <a:ext cx="5210175" cy="3724275"/>
          </a:xfrm>
          <a:prstGeom prst="rect">
            <a:avLst/>
          </a:prstGeom>
          <a:solidFill>
            <a:srgbClr val="FFFFFF"/>
          </a:solidFill>
          <a:ln w="9360">
            <a:solidFill>
              <a:srgbClr val="000000"/>
            </a:solidFill>
            <a:miter lim="800000"/>
            <a:headEnd/>
            <a:tailEnd/>
          </a:ln>
        </p:spPr>
        <p:txBody>
          <a:bodyPr wrap="none" lIns="90732" tIns="45366" rIns="90732" bIns="45366" anchor="ctr"/>
          <a:lstStyle/>
          <a:p>
            <a:pPr eaLnBrk="0" hangingPunct="0">
              <a:buClr>
                <a:srgbClr val="000000"/>
              </a:buClr>
              <a:buSzPct val="100000"/>
              <a:buFont typeface="Times New Roman" pitchFamily="18" charset="0"/>
              <a:buNone/>
            </a:pPr>
            <a:endParaRPr lang="de-DE"/>
          </a:p>
        </p:txBody>
      </p:sp>
      <p:sp>
        <p:nvSpPr>
          <p:cNvPr id="29701" name="Rectangle 2"/>
          <p:cNvSpPr>
            <a:spLocks noGrp="1" noChangeArrowheads="1"/>
          </p:cNvSpPr>
          <p:nvPr>
            <p:ph type="body"/>
          </p:nvPr>
        </p:nvSpPr>
        <p:spPr>
          <a:xfrm>
            <a:off x="666750" y="4714875"/>
            <a:ext cx="5329238" cy="4464050"/>
          </a:xfrm>
          <a:noFill/>
          <a:ln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87547" tIns="43773" rIns="87547" bIns="43773" anchor="ctr"/>
          <a:lstStyle/>
          <a:p>
            <a:endParaRPr lang="de-DE" smtClean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Rectangle 7"/>
          <p:cNvSpPr txBox="1">
            <a:spLocks noGrp="1" noChangeArrowheads="1"/>
          </p:cNvSpPr>
          <p:nvPr/>
        </p:nvSpPr>
        <p:spPr bwMode="auto">
          <a:xfrm>
            <a:off x="3776866" y="9431258"/>
            <a:ext cx="2890665" cy="4953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5537" tIns="47770" rIns="95537" bIns="47770" anchor="b"/>
          <a:lstStyle>
            <a:lvl1pPr>
              <a:defRPr sz="1400">
                <a:solidFill>
                  <a:srgbClr val="000099"/>
                </a:solidFill>
                <a:latin typeface="DIN-Light" pitchFamily="34" charset="0"/>
              </a:defRPr>
            </a:lvl1pPr>
            <a:lvl2pPr marL="742950" indent="-285750">
              <a:defRPr sz="1400">
                <a:solidFill>
                  <a:srgbClr val="000099"/>
                </a:solidFill>
                <a:latin typeface="DIN-Light" pitchFamily="34" charset="0"/>
              </a:defRPr>
            </a:lvl2pPr>
            <a:lvl3pPr marL="1143000" indent="-228600">
              <a:defRPr sz="1400">
                <a:solidFill>
                  <a:srgbClr val="000099"/>
                </a:solidFill>
                <a:latin typeface="DIN-Light" pitchFamily="34" charset="0"/>
              </a:defRPr>
            </a:lvl3pPr>
            <a:lvl4pPr marL="1600200" indent="-228600">
              <a:defRPr sz="1400">
                <a:solidFill>
                  <a:srgbClr val="000099"/>
                </a:solidFill>
                <a:latin typeface="DIN-Light" pitchFamily="34" charset="0"/>
              </a:defRPr>
            </a:lvl4pPr>
            <a:lvl5pPr marL="2057400" indent="-228600">
              <a:defRPr sz="1400">
                <a:solidFill>
                  <a:srgbClr val="000099"/>
                </a:solidFill>
                <a:latin typeface="DIN-Light" pitchFamily="34" charset="0"/>
              </a:defRPr>
            </a:lvl5pPr>
            <a:lvl6pPr marL="25146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1400">
                <a:solidFill>
                  <a:srgbClr val="000099"/>
                </a:solidFill>
                <a:latin typeface="DIN-Light" pitchFamily="34" charset="0"/>
              </a:defRPr>
            </a:lvl6pPr>
            <a:lvl7pPr marL="29718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1400">
                <a:solidFill>
                  <a:srgbClr val="000099"/>
                </a:solidFill>
                <a:latin typeface="DIN-Light" pitchFamily="34" charset="0"/>
              </a:defRPr>
            </a:lvl7pPr>
            <a:lvl8pPr marL="34290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1400">
                <a:solidFill>
                  <a:srgbClr val="000099"/>
                </a:solidFill>
                <a:latin typeface="DIN-Light" pitchFamily="34" charset="0"/>
              </a:defRPr>
            </a:lvl8pPr>
            <a:lvl9pPr marL="38862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1400">
                <a:solidFill>
                  <a:srgbClr val="000099"/>
                </a:solidFill>
                <a:latin typeface="DIN-Light" pitchFamily="34" charset="0"/>
              </a:defRPr>
            </a:lvl9pPr>
          </a:lstStyle>
          <a:p>
            <a:pPr algn="r">
              <a:lnSpc>
                <a:spcPct val="110000"/>
              </a:lnSpc>
              <a:spcBef>
                <a:spcPct val="50000"/>
              </a:spcBef>
            </a:pPr>
            <a:fld id="{19E78D54-75D6-48BA-86DB-610076969564}" type="slidenum">
              <a:rPr lang="de-DE" sz="1300" smtClean="0">
                <a:solidFill>
                  <a:prstClr val="black"/>
                </a:solidFill>
                <a:latin typeface="Arial" charset="0"/>
                <a:cs typeface="+mn-cs"/>
              </a:rPr>
              <a:pPr algn="r">
                <a:lnSpc>
                  <a:spcPct val="110000"/>
                </a:lnSpc>
                <a:spcBef>
                  <a:spcPct val="50000"/>
                </a:spcBef>
              </a:pPr>
              <a:t>2</a:t>
            </a:fld>
            <a:endParaRPr lang="de-DE" sz="1300" smtClean="0">
              <a:solidFill>
                <a:prstClr val="black"/>
              </a:solidFill>
              <a:latin typeface="Arial" charset="0"/>
              <a:cs typeface="+mn-cs"/>
            </a:endParaRPr>
          </a:p>
        </p:txBody>
      </p:sp>
      <p:sp>
        <p:nvSpPr>
          <p:cNvPr id="33795" name="Rectangle 2"/>
          <p:cNvSpPr txBox="1">
            <a:spLocks noGrp="1" noChangeArrowheads="1"/>
          </p:cNvSpPr>
          <p:nvPr/>
        </p:nvSpPr>
        <p:spPr bwMode="auto">
          <a:xfrm>
            <a:off x="0" y="0"/>
            <a:ext cx="2890665" cy="4953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5523" tIns="47762" rIns="95523" bIns="47762"/>
          <a:lstStyle>
            <a:lvl1pPr defTabSz="912813">
              <a:defRPr sz="1400">
                <a:solidFill>
                  <a:srgbClr val="000099"/>
                </a:solidFill>
                <a:latin typeface="DIN-Light" pitchFamily="34" charset="0"/>
              </a:defRPr>
            </a:lvl1pPr>
            <a:lvl2pPr marL="742950" indent="-285750" defTabSz="912813">
              <a:defRPr sz="1400">
                <a:solidFill>
                  <a:srgbClr val="000099"/>
                </a:solidFill>
                <a:latin typeface="DIN-Light" pitchFamily="34" charset="0"/>
              </a:defRPr>
            </a:lvl2pPr>
            <a:lvl3pPr marL="1143000" indent="-228600" defTabSz="912813">
              <a:defRPr sz="1400">
                <a:solidFill>
                  <a:srgbClr val="000099"/>
                </a:solidFill>
                <a:latin typeface="DIN-Light" pitchFamily="34" charset="0"/>
              </a:defRPr>
            </a:lvl3pPr>
            <a:lvl4pPr marL="1600200" indent="-228600" defTabSz="912813">
              <a:defRPr sz="1400">
                <a:solidFill>
                  <a:srgbClr val="000099"/>
                </a:solidFill>
                <a:latin typeface="DIN-Light" pitchFamily="34" charset="0"/>
              </a:defRPr>
            </a:lvl4pPr>
            <a:lvl5pPr marL="2057400" indent="-228600" defTabSz="912813">
              <a:defRPr sz="1400">
                <a:solidFill>
                  <a:srgbClr val="000099"/>
                </a:solidFill>
                <a:latin typeface="DIN-Light" pitchFamily="34" charset="0"/>
              </a:defRPr>
            </a:lvl5pPr>
            <a:lvl6pPr marL="2514600" indent="-228600" defTabSz="912813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1400">
                <a:solidFill>
                  <a:srgbClr val="000099"/>
                </a:solidFill>
                <a:latin typeface="DIN-Light" pitchFamily="34" charset="0"/>
              </a:defRPr>
            </a:lvl6pPr>
            <a:lvl7pPr marL="2971800" indent="-228600" defTabSz="912813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1400">
                <a:solidFill>
                  <a:srgbClr val="000099"/>
                </a:solidFill>
                <a:latin typeface="DIN-Light" pitchFamily="34" charset="0"/>
              </a:defRPr>
            </a:lvl7pPr>
            <a:lvl8pPr marL="3429000" indent="-228600" defTabSz="912813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1400">
                <a:solidFill>
                  <a:srgbClr val="000099"/>
                </a:solidFill>
                <a:latin typeface="DIN-Light" pitchFamily="34" charset="0"/>
              </a:defRPr>
            </a:lvl8pPr>
            <a:lvl9pPr marL="3886200" indent="-228600" defTabSz="912813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1400">
                <a:solidFill>
                  <a:srgbClr val="000099"/>
                </a:solidFill>
                <a:latin typeface="DIN-Light" pitchFamily="34" charset="0"/>
              </a:defRPr>
            </a:lvl9pPr>
          </a:lstStyle>
          <a:p>
            <a:pPr>
              <a:lnSpc>
                <a:spcPct val="110000"/>
              </a:lnSpc>
              <a:spcBef>
                <a:spcPct val="50000"/>
              </a:spcBef>
            </a:pPr>
            <a:r>
              <a:rPr lang="de-DE" sz="1300" smtClean="0">
                <a:latin typeface="DIN-Medium" pitchFamily="34" charset="0"/>
                <a:cs typeface="+mn-cs"/>
              </a:rPr>
              <a:t>TEst</a:t>
            </a:r>
          </a:p>
        </p:txBody>
      </p:sp>
      <p:sp>
        <p:nvSpPr>
          <p:cNvPr id="33796" name="Rectangle 7"/>
          <p:cNvSpPr txBox="1">
            <a:spLocks noGrp="1" noChangeArrowheads="1"/>
          </p:cNvSpPr>
          <p:nvPr/>
        </p:nvSpPr>
        <p:spPr bwMode="auto">
          <a:xfrm>
            <a:off x="3776866" y="9431258"/>
            <a:ext cx="2890665" cy="4953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5523" tIns="47762" rIns="95523" bIns="47762" anchor="b"/>
          <a:lstStyle>
            <a:lvl1pPr defTabSz="912813">
              <a:defRPr sz="1400">
                <a:solidFill>
                  <a:srgbClr val="000099"/>
                </a:solidFill>
                <a:latin typeface="DIN-Light" pitchFamily="34" charset="0"/>
              </a:defRPr>
            </a:lvl1pPr>
            <a:lvl2pPr marL="742950" indent="-285750" defTabSz="912813">
              <a:defRPr sz="1400">
                <a:solidFill>
                  <a:srgbClr val="000099"/>
                </a:solidFill>
                <a:latin typeface="DIN-Light" pitchFamily="34" charset="0"/>
              </a:defRPr>
            </a:lvl2pPr>
            <a:lvl3pPr marL="1143000" indent="-228600" defTabSz="912813">
              <a:defRPr sz="1400">
                <a:solidFill>
                  <a:srgbClr val="000099"/>
                </a:solidFill>
                <a:latin typeface="DIN-Light" pitchFamily="34" charset="0"/>
              </a:defRPr>
            </a:lvl3pPr>
            <a:lvl4pPr marL="1600200" indent="-228600" defTabSz="912813">
              <a:defRPr sz="1400">
                <a:solidFill>
                  <a:srgbClr val="000099"/>
                </a:solidFill>
                <a:latin typeface="DIN-Light" pitchFamily="34" charset="0"/>
              </a:defRPr>
            </a:lvl4pPr>
            <a:lvl5pPr marL="2057400" indent="-228600" defTabSz="912813">
              <a:defRPr sz="1400">
                <a:solidFill>
                  <a:srgbClr val="000099"/>
                </a:solidFill>
                <a:latin typeface="DIN-Light" pitchFamily="34" charset="0"/>
              </a:defRPr>
            </a:lvl5pPr>
            <a:lvl6pPr marL="2514600" indent="-228600" defTabSz="912813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1400">
                <a:solidFill>
                  <a:srgbClr val="000099"/>
                </a:solidFill>
                <a:latin typeface="DIN-Light" pitchFamily="34" charset="0"/>
              </a:defRPr>
            </a:lvl6pPr>
            <a:lvl7pPr marL="2971800" indent="-228600" defTabSz="912813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1400">
                <a:solidFill>
                  <a:srgbClr val="000099"/>
                </a:solidFill>
                <a:latin typeface="DIN-Light" pitchFamily="34" charset="0"/>
              </a:defRPr>
            </a:lvl7pPr>
            <a:lvl8pPr marL="3429000" indent="-228600" defTabSz="912813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1400">
                <a:solidFill>
                  <a:srgbClr val="000099"/>
                </a:solidFill>
                <a:latin typeface="DIN-Light" pitchFamily="34" charset="0"/>
              </a:defRPr>
            </a:lvl8pPr>
            <a:lvl9pPr marL="3886200" indent="-228600" defTabSz="912813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1400">
                <a:solidFill>
                  <a:srgbClr val="000099"/>
                </a:solidFill>
                <a:latin typeface="DIN-Light" pitchFamily="34" charset="0"/>
              </a:defRPr>
            </a:lvl9pPr>
          </a:lstStyle>
          <a:p>
            <a:pPr algn="r">
              <a:lnSpc>
                <a:spcPct val="110000"/>
              </a:lnSpc>
              <a:spcBef>
                <a:spcPct val="50000"/>
              </a:spcBef>
            </a:pPr>
            <a:fld id="{95D982F7-C868-441F-AEB0-4F8D06B6C530}" type="slidenum">
              <a:rPr lang="de-DE" sz="1300" smtClean="0">
                <a:latin typeface="DIN-Medium" pitchFamily="34" charset="0"/>
                <a:cs typeface="+mn-cs"/>
              </a:rPr>
              <a:pPr algn="r">
                <a:lnSpc>
                  <a:spcPct val="110000"/>
                </a:lnSpc>
                <a:spcBef>
                  <a:spcPct val="50000"/>
                </a:spcBef>
              </a:pPr>
              <a:t>2</a:t>
            </a:fld>
            <a:endParaRPr lang="de-DE" sz="1300" smtClean="0">
              <a:latin typeface="DIN-Medium" pitchFamily="34" charset="0"/>
              <a:cs typeface="+mn-cs"/>
            </a:endParaRPr>
          </a:p>
        </p:txBody>
      </p:sp>
      <p:sp>
        <p:nvSpPr>
          <p:cNvPr id="33797" name="Rectangle 7"/>
          <p:cNvSpPr txBox="1">
            <a:spLocks noGrp="1" noChangeArrowheads="1"/>
          </p:cNvSpPr>
          <p:nvPr/>
        </p:nvSpPr>
        <p:spPr bwMode="auto">
          <a:xfrm>
            <a:off x="3776866" y="9431258"/>
            <a:ext cx="2890665" cy="4953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00213" tIns="50106" rIns="100213" bIns="50106" anchor="b"/>
          <a:lstStyle>
            <a:lvl1pPr defTabSz="958850">
              <a:defRPr sz="1400">
                <a:solidFill>
                  <a:srgbClr val="000099"/>
                </a:solidFill>
                <a:latin typeface="DIN-Light" pitchFamily="34" charset="0"/>
              </a:defRPr>
            </a:lvl1pPr>
            <a:lvl2pPr marL="742950" indent="-285750" defTabSz="958850">
              <a:defRPr sz="1400">
                <a:solidFill>
                  <a:srgbClr val="000099"/>
                </a:solidFill>
                <a:latin typeface="DIN-Light" pitchFamily="34" charset="0"/>
              </a:defRPr>
            </a:lvl2pPr>
            <a:lvl3pPr marL="1143000" indent="-228600" defTabSz="958850">
              <a:defRPr sz="1400">
                <a:solidFill>
                  <a:srgbClr val="000099"/>
                </a:solidFill>
                <a:latin typeface="DIN-Light" pitchFamily="34" charset="0"/>
              </a:defRPr>
            </a:lvl3pPr>
            <a:lvl4pPr marL="1600200" indent="-228600" defTabSz="958850">
              <a:defRPr sz="1400">
                <a:solidFill>
                  <a:srgbClr val="000099"/>
                </a:solidFill>
                <a:latin typeface="DIN-Light" pitchFamily="34" charset="0"/>
              </a:defRPr>
            </a:lvl4pPr>
            <a:lvl5pPr marL="2057400" indent="-228600" defTabSz="958850">
              <a:defRPr sz="1400">
                <a:solidFill>
                  <a:srgbClr val="000099"/>
                </a:solidFill>
                <a:latin typeface="DIN-Light" pitchFamily="34" charset="0"/>
              </a:defRPr>
            </a:lvl5pPr>
            <a:lvl6pPr marL="2514600" indent="-228600" defTabSz="95885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1400">
                <a:solidFill>
                  <a:srgbClr val="000099"/>
                </a:solidFill>
                <a:latin typeface="DIN-Light" pitchFamily="34" charset="0"/>
              </a:defRPr>
            </a:lvl6pPr>
            <a:lvl7pPr marL="2971800" indent="-228600" defTabSz="95885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1400">
                <a:solidFill>
                  <a:srgbClr val="000099"/>
                </a:solidFill>
                <a:latin typeface="DIN-Light" pitchFamily="34" charset="0"/>
              </a:defRPr>
            </a:lvl7pPr>
            <a:lvl8pPr marL="3429000" indent="-228600" defTabSz="95885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1400">
                <a:solidFill>
                  <a:srgbClr val="000099"/>
                </a:solidFill>
                <a:latin typeface="DIN-Light" pitchFamily="34" charset="0"/>
              </a:defRPr>
            </a:lvl8pPr>
            <a:lvl9pPr marL="3886200" indent="-228600" defTabSz="95885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1400">
                <a:solidFill>
                  <a:srgbClr val="000099"/>
                </a:solidFill>
                <a:latin typeface="DIN-Light" pitchFamily="34" charset="0"/>
              </a:defRPr>
            </a:lvl9pPr>
          </a:lstStyle>
          <a:p>
            <a:pPr algn="r">
              <a:lnSpc>
                <a:spcPct val="110000"/>
              </a:lnSpc>
              <a:spcBef>
                <a:spcPct val="50000"/>
              </a:spcBef>
            </a:pPr>
            <a:fld id="{8B1A0A6B-8AF9-438A-B515-493855519A30}" type="slidenum">
              <a:rPr lang="de-DE" smtClean="0">
                <a:latin typeface="DIN-Medium" pitchFamily="34" charset="0"/>
                <a:cs typeface="+mn-cs"/>
              </a:rPr>
              <a:pPr algn="r">
                <a:lnSpc>
                  <a:spcPct val="110000"/>
                </a:lnSpc>
                <a:spcBef>
                  <a:spcPct val="50000"/>
                </a:spcBef>
              </a:pPr>
              <a:t>2</a:t>
            </a:fld>
            <a:endParaRPr lang="de-DE" smtClean="0">
              <a:latin typeface="DIN-Medium" pitchFamily="34" charset="0"/>
              <a:cs typeface="+mn-cs"/>
            </a:endParaRPr>
          </a:p>
        </p:txBody>
      </p:sp>
      <p:sp>
        <p:nvSpPr>
          <p:cNvPr id="3379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55663" y="744538"/>
            <a:ext cx="4965700" cy="3724275"/>
          </a:xfrm>
          <a:ln/>
        </p:spPr>
      </p:sp>
      <p:sp>
        <p:nvSpPr>
          <p:cNvPr id="3379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66598" y="4714042"/>
            <a:ext cx="5335893" cy="4467939"/>
          </a:xfrm>
          <a:noFill/>
        </p:spPr>
        <p:txBody>
          <a:bodyPr lIns="100213" tIns="50106" rIns="100213" bIns="50106"/>
          <a:lstStyle/>
          <a:p>
            <a:pPr eaLnBrk="1" hangingPunct="1"/>
            <a:endParaRPr lang="en-US" smtClean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Rectangle 7"/>
          <p:cNvSpPr txBox="1">
            <a:spLocks noGrp="1" noChangeArrowheads="1"/>
          </p:cNvSpPr>
          <p:nvPr/>
        </p:nvSpPr>
        <p:spPr bwMode="auto">
          <a:xfrm>
            <a:off x="3776866" y="9431258"/>
            <a:ext cx="2890665" cy="4953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5537" tIns="47770" rIns="95537" bIns="47770" anchor="b"/>
          <a:lstStyle>
            <a:lvl1pPr>
              <a:defRPr sz="1400">
                <a:solidFill>
                  <a:srgbClr val="000099"/>
                </a:solidFill>
                <a:latin typeface="DIN-Light" pitchFamily="34" charset="0"/>
              </a:defRPr>
            </a:lvl1pPr>
            <a:lvl2pPr marL="742950" indent="-285750">
              <a:defRPr sz="1400">
                <a:solidFill>
                  <a:srgbClr val="000099"/>
                </a:solidFill>
                <a:latin typeface="DIN-Light" pitchFamily="34" charset="0"/>
              </a:defRPr>
            </a:lvl2pPr>
            <a:lvl3pPr marL="1143000" indent="-228600">
              <a:defRPr sz="1400">
                <a:solidFill>
                  <a:srgbClr val="000099"/>
                </a:solidFill>
                <a:latin typeface="DIN-Light" pitchFamily="34" charset="0"/>
              </a:defRPr>
            </a:lvl3pPr>
            <a:lvl4pPr marL="1600200" indent="-228600">
              <a:defRPr sz="1400">
                <a:solidFill>
                  <a:srgbClr val="000099"/>
                </a:solidFill>
                <a:latin typeface="DIN-Light" pitchFamily="34" charset="0"/>
              </a:defRPr>
            </a:lvl4pPr>
            <a:lvl5pPr marL="2057400" indent="-228600">
              <a:defRPr sz="1400">
                <a:solidFill>
                  <a:srgbClr val="000099"/>
                </a:solidFill>
                <a:latin typeface="DIN-Light" pitchFamily="34" charset="0"/>
              </a:defRPr>
            </a:lvl5pPr>
            <a:lvl6pPr marL="25146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1400">
                <a:solidFill>
                  <a:srgbClr val="000099"/>
                </a:solidFill>
                <a:latin typeface="DIN-Light" pitchFamily="34" charset="0"/>
              </a:defRPr>
            </a:lvl6pPr>
            <a:lvl7pPr marL="29718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1400">
                <a:solidFill>
                  <a:srgbClr val="000099"/>
                </a:solidFill>
                <a:latin typeface="DIN-Light" pitchFamily="34" charset="0"/>
              </a:defRPr>
            </a:lvl7pPr>
            <a:lvl8pPr marL="34290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1400">
                <a:solidFill>
                  <a:srgbClr val="000099"/>
                </a:solidFill>
                <a:latin typeface="DIN-Light" pitchFamily="34" charset="0"/>
              </a:defRPr>
            </a:lvl8pPr>
            <a:lvl9pPr marL="38862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1400">
                <a:solidFill>
                  <a:srgbClr val="000099"/>
                </a:solidFill>
                <a:latin typeface="DIN-Light" pitchFamily="34" charset="0"/>
              </a:defRPr>
            </a:lvl9pPr>
          </a:lstStyle>
          <a:p>
            <a:pPr algn="r">
              <a:lnSpc>
                <a:spcPct val="110000"/>
              </a:lnSpc>
              <a:spcBef>
                <a:spcPct val="50000"/>
              </a:spcBef>
            </a:pPr>
            <a:fld id="{19E78D54-75D6-48BA-86DB-610076969564}" type="slidenum">
              <a:rPr lang="de-DE" sz="1300" smtClean="0">
                <a:solidFill>
                  <a:prstClr val="black"/>
                </a:solidFill>
                <a:latin typeface="Arial" charset="0"/>
                <a:cs typeface="+mn-cs"/>
              </a:rPr>
              <a:pPr algn="r">
                <a:lnSpc>
                  <a:spcPct val="110000"/>
                </a:lnSpc>
                <a:spcBef>
                  <a:spcPct val="50000"/>
                </a:spcBef>
              </a:pPr>
              <a:t>3</a:t>
            </a:fld>
            <a:endParaRPr lang="de-DE" sz="1300" smtClean="0">
              <a:solidFill>
                <a:prstClr val="black"/>
              </a:solidFill>
              <a:latin typeface="Arial" charset="0"/>
              <a:cs typeface="+mn-cs"/>
            </a:endParaRPr>
          </a:p>
        </p:txBody>
      </p:sp>
      <p:sp>
        <p:nvSpPr>
          <p:cNvPr id="33795" name="Rectangle 2"/>
          <p:cNvSpPr txBox="1">
            <a:spLocks noGrp="1" noChangeArrowheads="1"/>
          </p:cNvSpPr>
          <p:nvPr/>
        </p:nvSpPr>
        <p:spPr bwMode="auto">
          <a:xfrm>
            <a:off x="0" y="0"/>
            <a:ext cx="2890665" cy="4953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5523" tIns="47762" rIns="95523" bIns="47762"/>
          <a:lstStyle>
            <a:lvl1pPr defTabSz="912813">
              <a:defRPr sz="1400">
                <a:solidFill>
                  <a:srgbClr val="000099"/>
                </a:solidFill>
                <a:latin typeface="DIN-Light" pitchFamily="34" charset="0"/>
              </a:defRPr>
            </a:lvl1pPr>
            <a:lvl2pPr marL="742950" indent="-285750" defTabSz="912813">
              <a:defRPr sz="1400">
                <a:solidFill>
                  <a:srgbClr val="000099"/>
                </a:solidFill>
                <a:latin typeface="DIN-Light" pitchFamily="34" charset="0"/>
              </a:defRPr>
            </a:lvl2pPr>
            <a:lvl3pPr marL="1143000" indent="-228600" defTabSz="912813">
              <a:defRPr sz="1400">
                <a:solidFill>
                  <a:srgbClr val="000099"/>
                </a:solidFill>
                <a:latin typeface="DIN-Light" pitchFamily="34" charset="0"/>
              </a:defRPr>
            </a:lvl3pPr>
            <a:lvl4pPr marL="1600200" indent="-228600" defTabSz="912813">
              <a:defRPr sz="1400">
                <a:solidFill>
                  <a:srgbClr val="000099"/>
                </a:solidFill>
                <a:latin typeface="DIN-Light" pitchFamily="34" charset="0"/>
              </a:defRPr>
            </a:lvl4pPr>
            <a:lvl5pPr marL="2057400" indent="-228600" defTabSz="912813">
              <a:defRPr sz="1400">
                <a:solidFill>
                  <a:srgbClr val="000099"/>
                </a:solidFill>
                <a:latin typeface="DIN-Light" pitchFamily="34" charset="0"/>
              </a:defRPr>
            </a:lvl5pPr>
            <a:lvl6pPr marL="2514600" indent="-228600" defTabSz="912813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1400">
                <a:solidFill>
                  <a:srgbClr val="000099"/>
                </a:solidFill>
                <a:latin typeface="DIN-Light" pitchFamily="34" charset="0"/>
              </a:defRPr>
            </a:lvl6pPr>
            <a:lvl7pPr marL="2971800" indent="-228600" defTabSz="912813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1400">
                <a:solidFill>
                  <a:srgbClr val="000099"/>
                </a:solidFill>
                <a:latin typeface="DIN-Light" pitchFamily="34" charset="0"/>
              </a:defRPr>
            </a:lvl7pPr>
            <a:lvl8pPr marL="3429000" indent="-228600" defTabSz="912813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1400">
                <a:solidFill>
                  <a:srgbClr val="000099"/>
                </a:solidFill>
                <a:latin typeface="DIN-Light" pitchFamily="34" charset="0"/>
              </a:defRPr>
            </a:lvl8pPr>
            <a:lvl9pPr marL="3886200" indent="-228600" defTabSz="912813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1400">
                <a:solidFill>
                  <a:srgbClr val="000099"/>
                </a:solidFill>
                <a:latin typeface="DIN-Light" pitchFamily="34" charset="0"/>
              </a:defRPr>
            </a:lvl9pPr>
          </a:lstStyle>
          <a:p>
            <a:pPr>
              <a:lnSpc>
                <a:spcPct val="110000"/>
              </a:lnSpc>
              <a:spcBef>
                <a:spcPct val="50000"/>
              </a:spcBef>
            </a:pPr>
            <a:r>
              <a:rPr lang="de-DE" sz="1300" smtClean="0">
                <a:latin typeface="DIN-Medium" pitchFamily="34" charset="0"/>
                <a:cs typeface="+mn-cs"/>
              </a:rPr>
              <a:t>TEst</a:t>
            </a:r>
          </a:p>
        </p:txBody>
      </p:sp>
      <p:sp>
        <p:nvSpPr>
          <p:cNvPr id="33796" name="Rectangle 7"/>
          <p:cNvSpPr txBox="1">
            <a:spLocks noGrp="1" noChangeArrowheads="1"/>
          </p:cNvSpPr>
          <p:nvPr/>
        </p:nvSpPr>
        <p:spPr bwMode="auto">
          <a:xfrm>
            <a:off x="3776866" y="9431258"/>
            <a:ext cx="2890665" cy="4953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5523" tIns="47762" rIns="95523" bIns="47762" anchor="b"/>
          <a:lstStyle>
            <a:lvl1pPr defTabSz="912813">
              <a:defRPr sz="1400">
                <a:solidFill>
                  <a:srgbClr val="000099"/>
                </a:solidFill>
                <a:latin typeface="DIN-Light" pitchFamily="34" charset="0"/>
              </a:defRPr>
            </a:lvl1pPr>
            <a:lvl2pPr marL="742950" indent="-285750" defTabSz="912813">
              <a:defRPr sz="1400">
                <a:solidFill>
                  <a:srgbClr val="000099"/>
                </a:solidFill>
                <a:latin typeface="DIN-Light" pitchFamily="34" charset="0"/>
              </a:defRPr>
            </a:lvl2pPr>
            <a:lvl3pPr marL="1143000" indent="-228600" defTabSz="912813">
              <a:defRPr sz="1400">
                <a:solidFill>
                  <a:srgbClr val="000099"/>
                </a:solidFill>
                <a:latin typeface="DIN-Light" pitchFamily="34" charset="0"/>
              </a:defRPr>
            </a:lvl3pPr>
            <a:lvl4pPr marL="1600200" indent="-228600" defTabSz="912813">
              <a:defRPr sz="1400">
                <a:solidFill>
                  <a:srgbClr val="000099"/>
                </a:solidFill>
                <a:latin typeface="DIN-Light" pitchFamily="34" charset="0"/>
              </a:defRPr>
            </a:lvl4pPr>
            <a:lvl5pPr marL="2057400" indent="-228600" defTabSz="912813">
              <a:defRPr sz="1400">
                <a:solidFill>
                  <a:srgbClr val="000099"/>
                </a:solidFill>
                <a:latin typeface="DIN-Light" pitchFamily="34" charset="0"/>
              </a:defRPr>
            </a:lvl5pPr>
            <a:lvl6pPr marL="2514600" indent="-228600" defTabSz="912813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1400">
                <a:solidFill>
                  <a:srgbClr val="000099"/>
                </a:solidFill>
                <a:latin typeface="DIN-Light" pitchFamily="34" charset="0"/>
              </a:defRPr>
            </a:lvl6pPr>
            <a:lvl7pPr marL="2971800" indent="-228600" defTabSz="912813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1400">
                <a:solidFill>
                  <a:srgbClr val="000099"/>
                </a:solidFill>
                <a:latin typeface="DIN-Light" pitchFamily="34" charset="0"/>
              </a:defRPr>
            </a:lvl7pPr>
            <a:lvl8pPr marL="3429000" indent="-228600" defTabSz="912813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1400">
                <a:solidFill>
                  <a:srgbClr val="000099"/>
                </a:solidFill>
                <a:latin typeface="DIN-Light" pitchFamily="34" charset="0"/>
              </a:defRPr>
            </a:lvl8pPr>
            <a:lvl9pPr marL="3886200" indent="-228600" defTabSz="912813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1400">
                <a:solidFill>
                  <a:srgbClr val="000099"/>
                </a:solidFill>
                <a:latin typeface="DIN-Light" pitchFamily="34" charset="0"/>
              </a:defRPr>
            </a:lvl9pPr>
          </a:lstStyle>
          <a:p>
            <a:pPr algn="r">
              <a:lnSpc>
                <a:spcPct val="110000"/>
              </a:lnSpc>
              <a:spcBef>
                <a:spcPct val="50000"/>
              </a:spcBef>
            </a:pPr>
            <a:fld id="{95D982F7-C868-441F-AEB0-4F8D06B6C530}" type="slidenum">
              <a:rPr lang="de-DE" sz="1300" smtClean="0">
                <a:latin typeface="DIN-Medium" pitchFamily="34" charset="0"/>
                <a:cs typeface="+mn-cs"/>
              </a:rPr>
              <a:pPr algn="r">
                <a:lnSpc>
                  <a:spcPct val="110000"/>
                </a:lnSpc>
                <a:spcBef>
                  <a:spcPct val="50000"/>
                </a:spcBef>
              </a:pPr>
              <a:t>3</a:t>
            </a:fld>
            <a:endParaRPr lang="de-DE" sz="1300" smtClean="0">
              <a:latin typeface="DIN-Medium" pitchFamily="34" charset="0"/>
              <a:cs typeface="+mn-cs"/>
            </a:endParaRPr>
          </a:p>
        </p:txBody>
      </p:sp>
      <p:sp>
        <p:nvSpPr>
          <p:cNvPr id="33797" name="Rectangle 7"/>
          <p:cNvSpPr txBox="1">
            <a:spLocks noGrp="1" noChangeArrowheads="1"/>
          </p:cNvSpPr>
          <p:nvPr/>
        </p:nvSpPr>
        <p:spPr bwMode="auto">
          <a:xfrm>
            <a:off x="3776866" y="9431258"/>
            <a:ext cx="2890665" cy="4953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00213" tIns="50106" rIns="100213" bIns="50106" anchor="b"/>
          <a:lstStyle>
            <a:lvl1pPr defTabSz="958850">
              <a:defRPr sz="1400">
                <a:solidFill>
                  <a:srgbClr val="000099"/>
                </a:solidFill>
                <a:latin typeface="DIN-Light" pitchFamily="34" charset="0"/>
              </a:defRPr>
            </a:lvl1pPr>
            <a:lvl2pPr marL="742950" indent="-285750" defTabSz="958850">
              <a:defRPr sz="1400">
                <a:solidFill>
                  <a:srgbClr val="000099"/>
                </a:solidFill>
                <a:latin typeface="DIN-Light" pitchFamily="34" charset="0"/>
              </a:defRPr>
            </a:lvl2pPr>
            <a:lvl3pPr marL="1143000" indent="-228600" defTabSz="958850">
              <a:defRPr sz="1400">
                <a:solidFill>
                  <a:srgbClr val="000099"/>
                </a:solidFill>
                <a:latin typeface="DIN-Light" pitchFamily="34" charset="0"/>
              </a:defRPr>
            </a:lvl3pPr>
            <a:lvl4pPr marL="1600200" indent="-228600" defTabSz="958850">
              <a:defRPr sz="1400">
                <a:solidFill>
                  <a:srgbClr val="000099"/>
                </a:solidFill>
                <a:latin typeface="DIN-Light" pitchFamily="34" charset="0"/>
              </a:defRPr>
            </a:lvl4pPr>
            <a:lvl5pPr marL="2057400" indent="-228600" defTabSz="958850">
              <a:defRPr sz="1400">
                <a:solidFill>
                  <a:srgbClr val="000099"/>
                </a:solidFill>
                <a:latin typeface="DIN-Light" pitchFamily="34" charset="0"/>
              </a:defRPr>
            </a:lvl5pPr>
            <a:lvl6pPr marL="2514600" indent="-228600" defTabSz="95885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1400">
                <a:solidFill>
                  <a:srgbClr val="000099"/>
                </a:solidFill>
                <a:latin typeface="DIN-Light" pitchFamily="34" charset="0"/>
              </a:defRPr>
            </a:lvl6pPr>
            <a:lvl7pPr marL="2971800" indent="-228600" defTabSz="95885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1400">
                <a:solidFill>
                  <a:srgbClr val="000099"/>
                </a:solidFill>
                <a:latin typeface="DIN-Light" pitchFamily="34" charset="0"/>
              </a:defRPr>
            </a:lvl7pPr>
            <a:lvl8pPr marL="3429000" indent="-228600" defTabSz="95885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1400">
                <a:solidFill>
                  <a:srgbClr val="000099"/>
                </a:solidFill>
                <a:latin typeface="DIN-Light" pitchFamily="34" charset="0"/>
              </a:defRPr>
            </a:lvl8pPr>
            <a:lvl9pPr marL="3886200" indent="-228600" defTabSz="95885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1400">
                <a:solidFill>
                  <a:srgbClr val="000099"/>
                </a:solidFill>
                <a:latin typeface="DIN-Light" pitchFamily="34" charset="0"/>
              </a:defRPr>
            </a:lvl9pPr>
          </a:lstStyle>
          <a:p>
            <a:pPr algn="r">
              <a:lnSpc>
                <a:spcPct val="110000"/>
              </a:lnSpc>
              <a:spcBef>
                <a:spcPct val="50000"/>
              </a:spcBef>
            </a:pPr>
            <a:fld id="{8B1A0A6B-8AF9-438A-B515-493855519A30}" type="slidenum">
              <a:rPr lang="de-DE" smtClean="0">
                <a:latin typeface="DIN-Medium" pitchFamily="34" charset="0"/>
                <a:cs typeface="+mn-cs"/>
              </a:rPr>
              <a:pPr algn="r">
                <a:lnSpc>
                  <a:spcPct val="110000"/>
                </a:lnSpc>
                <a:spcBef>
                  <a:spcPct val="50000"/>
                </a:spcBef>
              </a:pPr>
              <a:t>3</a:t>
            </a:fld>
            <a:endParaRPr lang="de-DE" smtClean="0">
              <a:latin typeface="DIN-Medium" pitchFamily="34" charset="0"/>
              <a:cs typeface="+mn-cs"/>
            </a:endParaRPr>
          </a:p>
        </p:txBody>
      </p:sp>
      <p:sp>
        <p:nvSpPr>
          <p:cNvPr id="3379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55663" y="744538"/>
            <a:ext cx="4965700" cy="3724275"/>
          </a:xfrm>
          <a:ln/>
        </p:spPr>
      </p:sp>
      <p:sp>
        <p:nvSpPr>
          <p:cNvPr id="3379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66598" y="4714042"/>
            <a:ext cx="5335893" cy="4467939"/>
          </a:xfrm>
          <a:noFill/>
        </p:spPr>
        <p:txBody>
          <a:bodyPr lIns="100213" tIns="50106" rIns="100213" bIns="50106"/>
          <a:lstStyle/>
          <a:p>
            <a:pPr eaLnBrk="1" hangingPunct="1"/>
            <a:endParaRPr lang="en-US" smtClean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Rectangle 7"/>
          <p:cNvSpPr txBox="1">
            <a:spLocks noGrp="1" noChangeArrowheads="1"/>
          </p:cNvSpPr>
          <p:nvPr/>
        </p:nvSpPr>
        <p:spPr bwMode="auto">
          <a:xfrm>
            <a:off x="3776866" y="9431258"/>
            <a:ext cx="2890665" cy="4953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5537" tIns="47770" rIns="95537" bIns="47770" anchor="b"/>
          <a:lstStyle>
            <a:lvl1pPr>
              <a:defRPr sz="1400">
                <a:solidFill>
                  <a:srgbClr val="000099"/>
                </a:solidFill>
                <a:latin typeface="DIN-Light" pitchFamily="34" charset="0"/>
              </a:defRPr>
            </a:lvl1pPr>
            <a:lvl2pPr marL="742950" indent="-285750">
              <a:defRPr sz="1400">
                <a:solidFill>
                  <a:srgbClr val="000099"/>
                </a:solidFill>
                <a:latin typeface="DIN-Light" pitchFamily="34" charset="0"/>
              </a:defRPr>
            </a:lvl2pPr>
            <a:lvl3pPr marL="1143000" indent="-228600">
              <a:defRPr sz="1400">
                <a:solidFill>
                  <a:srgbClr val="000099"/>
                </a:solidFill>
                <a:latin typeface="DIN-Light" pitchFamily="34" charset="0"/>
              </a:defRPr>
            </a:lvl3pPr>
            <a:lvl4pPr marL="1600200" indent="-228600">
              <a:defRPr sz="1400">
                <a:solidFill>
                  <a:srgbClr val="000099"/>
                </a:solidFill>
                <a:latin typeface="DIN-Light" pitchFamily="34" charset="0"/>
              </a:defRPr>
            </a:lvl4pPr>
            <a:lvl5pPr marL="2057400" indent="-228600">
              <a:defRPr sz="1400">
                <a:solidFill>
                  <a:srgbClr val="000099"/>
                </a:solidFill>
                <a:latin typeface="DIN-Light" pitchFamily="34" charset="0"/>
              </a:defRPr>
            </a:lvl5pPr>
            <a:lvl6pPr marL="25146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1400">
                <a:solidFill>
                  <a:srgbClr val="000099"/>
                </a:solidFill>
                <a:latin typeface="DIN-Light" pitchFamily="34" charset="0"/>
              </a:defRPr>
            </a:lvl6pPr>
            <a:lvl7pPr marL="29718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1400">
                <a:solidFill>
                  <a:srgbClr val="000099"/>
                </a:solidFill>
                <a:latin typeface="DIN-Light" pitchFamily="34" charset="0"/>
              </a:defRPr>
            </a:lvl7pPr>
            <a:lvl8pPr marL="34290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1400">
                <a:solidFill>
                  <a:srgbClr val="000099"/>
                </a:solidFill>
                <a:latin typeface="DIN-Light" pitchFamily="34" charset="0"/>
              </a:defRPr>
            </a:lvl8pPr>
            <a:lvl9pPr marL="38862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1400">
                <a:solidFill>
                  <a:srgbClr val="000099"/>
                </a:solidFill>
                <a:latin typeface="DIN-Light" pitchFamily="34" charset="0"/>
              </a:defRPr>
            </a:lvl9pPr>
          </a:lstStyle>
          <a:p>
            <a:pPr algn="r">
              <a:lnSpc>
                <a:spcPct val="110000"/>
              </a:lnSpc>
              <a:spcBef>
                <a:spcPct val="50000"/>
              </a:spcBef>
            </a:pPr>
            <a:fld id="{19E78D54-75D6-48BA-86DB-610076969564}" type="slidenum">
              <a:rPr lang="de-DE" sz="1300" smtClean="0">
                <a:solidFill>
                  <a:prstClr val="black"/>
                </a:solidFill>
                <a:latin typeface="Arial" charset="0"/>
                <a:cs typeface="+mn-cs"/>
              </a:rPr>
              <a:pPr algn="r">
                <a:lnSpc>
                  <a:spcPct val="110000"/>
                </a:lnSpc>
                <a:spcBef>
                  <a:spcPct val="50000"/>
                </a:spcBef>
              </a:pPr>
              <a:t>4</a:t>
            </a:fld>
            <a:endParaRPr lang="de-DE" sz="1300" smtClean="0">
              <a:solidFill>
                <a:prstClr val="black"/>
              </a:solidFill>
              <a:latin typeface="Arial" charset="0"/>
              <a:cs typeface="+mn-cs"/>
            </a:endParaRPr>
          </a:p>
        </p:txBody>
      </p:sp>
      <p:sp>
        <p:nvSpPr>
          <p:cNvPr id="33795" name="Rectangle 2"/>
          <p:cNvSpPr txBox="1">
            <a:spLocks noGrp="1" noChangeArrowheads="1"/>
          </p:cNvSpPr>
          <p:nvPr/>
        </p:nvSpPr>
        <p:spPr bwMode="auto">
          <a:xfrm>
            <a:off x="0" y="0"/>
            <a:ext cx="2890665" cy="4953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5523" tIns="47762" rIns="95523" bIns="47762"/>
          <a:lstStyle>
            <a:lvl1pPr defTabSz="912813">
              <a:defRPr sz="1400">
                <a:solidFill>
                  <a:srgbClr val="000099"/>
                </a:solidFill>
                <a:latin typeface="DIN-Light" pitchFamily="34" charset="0"/>
              </a:defRPr>
            </a:lvl1pPr>
            <a:lvl2pPr marL="742950" indent="-285750" defTabSz="912813">
              <a:defRPr sz="1400">
                <a:solidFill>
                  <a:srgbClr val="000099"/>
                </a:solidFill>
                <a:latin typeface="DIN-Light" pitchFamily="34" charset="0"/>
              </a:defRPr>
            </a:lvl2pPr>
            <a:lvl3pPr marL="1143000" indent="-228600" defTabSz="912813">
              <a:defRPr sz="1400">
                <a:solidFill>
                  <a:srgbClr val="000099"/>
                </a:solidFill>
                <a:latin typeface="DIN-Light" pitchFamily="34" charset="0"/>
              </a:defRPr>
            </a:lvl3pPr>
            <a:lvl4pPr marL="1600200" indent="-228600" defTabSz="912813">
              <a:defRPr sz="1400">
                <a:solidFill>
                  <a:srgbClr val="000099"/>
                </a:solidFill>
                <a:latin typeface="DIN-Light" pitchFamily="34" charset="0"/>
              </a:defRPr>
            </a:lvl4pPr>
            <a:lvl5pPr marL="2057400" indent="-228600" defTabSz="912813">
              <a:defRPr sz="1400">
                <a:solidFill>
                  <a:srgbClr val="000099"/>
                </a:solidFill>
                <a:latin typeface="DIN-Light" pitchFamily="34" charset="0"/>
              </a:defRPr>
            </a:lvl5pPr>
            <a:lvl6pPr marL="2514600" indent="-228600" defTabSz="912813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1400">
                <a:solidFill>
                  <a:srgbClr val="000099"/>
                </a:solidFill>
                <a:latin typeface="DIN-Light" pitchFamily="34" charset="0"/>
              </a:defRPr>
            </a:lvl6pPr>
            <a:lvl7pPr marL="2971800" indent="-228600" defTabSz="912813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1400">
                <a:solidFill>
                  <a:srgbClr val="000099"/>
                </a:solidFill>
                <a:latin typeface="DIN-Light" pitchFamily="34" charset="0"/>
              </a:defRPr>
            </a:lvl7pPr>
            <a:lvl8pPr marL="3429000" indent="-228600" defTabSz="912813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1400">
                <a:solidFill>
                  <a:srgbClr val="000099"/>
                </a:solidFill>
                <a:latin typeface="DIN-Light" pitchFamily="34" charset="0"/>
              </a:defRPr>
            </a:lvl8pPr>
            <a:lvl9pPr marL="3886200" indent="-228600" defTabSz="912813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1400">
                <a:solidFill>
                  <a:srgbClr val="000099"/>
                </a:solidFill>
                <a:latin typeface="DIN-Light" pitchFamily="34" charset="0"/>
              </a:defRPr>
            </a:lvl9pPr>
          </a:lstStyle>
          <a:p>
            <a:pPr>
              <a:lnSpc>
                <a:spcPct val="110000"/>
              </a:lnSpc>
              <a:spcBef>
                <a:spcPct val="50000"/>
              </a:spcBef>
            </a:pPr>
            <a:r>
              <a:rPr lang="de-DE" sz="1300" smtClean="0">
                <a:latin typeface="DIN-Medium" pitchFamily="34" charset="0"/>
                <a:cs typeface="+mn-cs"/>
              </a:rPr>
              <a:t>TEst</a:t>
            </a:r>
          </a:p>
        </p:txBody>
      </p:sp>
      <p:sp>
        <p:nvSpPr>
          <p:cNvPr id="33796" name="Rectangle 7"/>
          <p:cNvSpPr txBox="1">
            <a:spLocks noGrp="1" noChangeArrowheads="1"/>
          </p:cNvSpPr>
          <p:nvPr/>
        </p:nvSpPr>
        <p:spPr bwMode="auto">
          <a:xfrm>
            <a:off x="3776866" y="9431258"/>
            <a:ext cx="2890665" cy="4953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5523" tIns="47762" rIns="95523" bIns="47762" anchor="b"/>
          <a:lstStyle>
            <a:lvl1pPr defTabSz="912813">
              <a:defRPr sz="1400">
                <a:solidFill>
                  <a:srgbClr val="000099"/>
                </a:solidFill>
                <a:latin typeface="DIN-Light" pitchFamily="34" charset="0"/>
              </a:defRPr>
            </a:lvl1pPr>
            <a:lvl2pPr marL="742950" indent="-285750" defTabSz="912813">
              <a:defRPr sz="1400">
                <a:solidFill>
                  <a:srgbClr val="000099"/>
                </a:solidFill>
                <a:latin typeface="DIN-Light" pitchFamily="34" charset="0"/>
              </a:defRPr>
            </a:lvl2pPr>
            <a:lvl3pPr marL="1143000" indent="-228600" defTabSz="912813">
              <a:defRPr sz="1400">
                <a:solidFill>
                  <a:srgbClr val="000099"/>
                </a:solidFill>
                <a:latin typeface="DIN-Light" pitchFamily="34" charset="0"/>
              </a:defRPr>
            </a:lvl3pPr>
            <a:lvl4pPr marL="1600200" indent="-228600" defTabSz="912813">
              <a:defRPr sz="1400">
                <a:solidFill>
                  <a:srgbClr val="000099"/>
                </a:solidFill>
                <a:latin typeface="DIN-Light" pitchFamily="34" charset="0"/>
              </a:defRPr>
            </a:lvl4pPr>
            <a:lvl5pPr marL="2057400" indent="-228600" defTabSz="912813">
              <a:defRPr sz="1400">
                <a:solidFill>
                  <a:srgbClr val="000099"/>
                </a:solidFill>
                <a:latin typeface="DIN-Light" pitchFamily="34" charset="0"/>
              </a:defRPr>
            </a:lvl5pPr>
            <a:lvl6pPr marL="2514600" indent="-228600" defTabSz="912813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1400">
                <a:solidFill>
                  <a:srgbClr val="000099"/>
                </a:solidFill>
                <a:latin typeface="DIN-Light" pitchFamily="34" charset="0"/>
              </a:defRPr>
            </a:lvl6pPr>
            <a:lvl7pPr marL="2971800" indent="-228600" defTabSz="912813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1400">
                <a:solidFill>
                  <a:srgbClr val="000099"/>
                </a:solidFill>
                <a:latin typeface="DIN-Light" pitchFamily="34" charset="0"/>
              </a:defRPr>
            </a:lvl7pPr>
            <a:lvl8pPr marL="3429000" indent="-228600" defTabSz="912813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1400">
                <a:solidFill>
                  <a:srgbClr val="000099"/>
                </a:solidFill>
                <a:latin typeface="DIN-Light" pitchFamily="34" charset="0"/>
              </a:defRPr>
            </a:lvl8pPr>
            <a:lvl9pPr marL="3886200" indent="-228600" defTabSz="912813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1400">
                <a:solidFill>
                  <a:srgbClr val="000099"/>
                </a:solidFill>
                <a:latin typeface="DIN-Light" pitchFamily="34" charset="0"/>
              </a:defRPr>
            </a:lvl9pPr>
          </a:lstStyle>
          <a:p>
            <a:pPr algn="r">
              <a:lnSpc>
                <a:spcPct val="110000"/>
              </a:lnSpc>
              <a:spcBef>
                <a:spcPct val="50000"/>
              </a:spcBef>
            </a:pPr>
            <a:fld id="{95D982F7-C868-441F-AEB0-4F8D06B6C530}" type="slidenum">
              <a:rPr lang="de-DE" sz="1300" smtClean="0">
                <a:latin typeface="DIN-Medium" pitchFamily="34" charset="0"/>
                <a:cs typeface="+mn-cs"/>
              </a:rPr>
              <a:pPr algn="r">
                <a:lnSpc>
                  <a:spcPct val="110000"/>
                </a:lnSpc>
                <a:spcBef>
                  <a:spcPct val="50000"/>
                </a:spcBef>
              </a:pPr>
              <a:t>4</a:t>
            </a:fld>
            <a:endParaRPr lang="de-DE" sz="1300" smtClean="0">
              <a:latin typeface="DIN-Medium" pitchFamily="34" charset="0"/>
              <a:cs typeface="+mn-cs"/>
            </a:endParaRPr>
          </a:p>
        </p:txBody>
      </p:sp>
      <p:sp>
        <p:nvSpPr>
          <p:cNvPr id="33797" name="Rectangle 7"/>
          <p:cNvSpPr txBox="1">
            <a:spLocks noGrp="1" noChangeArrowheads="1"/>
          </p:cNvSpPr>
          <p:nvPr/>
        </p:nvSpPr>
        <p:spPr bwMode="auto">
          <a:xfrm>
            <a:off x="3776866" y="9431258"/>
            <a:ext cx="2890665" cy="4953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00213" tIns="50106" rIns="100213" bIns="50106" anchor="b"/>
          <a:lstStyle>
            <a:lvl1pPr defTabSz="958850">
              <a:defRPr sz="1400">
                <a:solidFill>
                  <a:srgbClr val="000099"/>
                </a:solidFill>
                <a:latin typeface="DIN-Light" pitchFamily="34" charset="0"/>
              </a:defRPr>
            </a:lvl1pPr>
            <a:lvl2pPr marL="742950" indent="-285750" defTabSz="958850">
              <a:defRPr sz="1400">
                <a:solidFill>
                  <a:srgbClr val="000099"/>
                </a:solidFill>
                <a:latin typeface="DIN-Light" pitchFamily="34" charset="0"/>
              </a:defRPr>
            </a:lvl2pPr>
            <a:lvl3pPr marL="1143000" indent="-228600" defTabSz="958850">
              <a:defRPr sz="1400">
                <a:solidFill>
                  <a:srgbClr val="000099"/>
                </a:solidFill>
                <a:latin typeface="DIN-Light" pitchFamily="34" charset="0"/>
              </a:defRPr>
            </a:lvl3pPr>
            <a:lvl4pPr marL="1600200" indent="-228600" defTabSz="958850">
              <a:defRPr sz="1400">
                <a:solidFill>
                  <a:srgbClr val="000099"/>
                </a:solidFill>
                <a:latin typeface="DIN-Light" pitchFamily="34" charset="0"/>
              </a:defRPr>
            </a:lvl4pPr>
            <a:lvl5pPr marL="2057400" indent="-228600" defTabSz="958850">
              <a:defRPr sz="1400">
                <a:solidFill>
                  <a:srgbClr val="000099"/>
                </a:solidFill>
                <a:latin typeface="DIN-Light" pitchFamily="34" charset="0"/>
              </a:defRPr>
            </a:lvl5pPr>
            <a:lvl6pPr marL="2514600" indent="-228600" defTabSz="95885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1400">
                <a:solidFill>
                  <a:srgbClr val="000099"/>
                </a:solidFill>
                <a:latin typeface="DIN-Light" pitchFamily="34" charset="0"/>
              </a:defRPr>
            </a:lvl6pPr>
            <a:lvl7pPr marL="2971800" indent="-228600" defTabSz="95885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1400">
                <a:solidFill>
                  <a:srgbClr val="000099"/>
                </a:solidFill>
                <a:latin typeface="DIN-Light" pitchFamily="34" charset="0"/>
              </a:defRPr>
            </a:lvl7pPr>
            <a:lvl8pPr marL="3429000" indent="-228600" defTabSz="95885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1400">
                <a:solidFill>
                  <a:srgbClr val="000099"/>
                </a:solidFill>
                <a:latin typeface="DIN-Light" pitchFamily="34" charset="0"/>
              </a:defRPr>
            </a:lvl8pPr>
            <a:lvl9pPr marL="3886200" indent="-228600" defTabSz="95885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1400">
                <a:solidFill>
                  <a:srgbClr val="000099"/>
                </a:solidFill>
                <a:latin typeface="DIN-Light" pitchFamily="34" charset="0"/>
              </a:defRPr>
            </a:lvl9pPr>
          </a:lstStyle>
          <a:p>
            <a:pPr algn="r">
              <a:lnSpc>
                <a:spcPct val="110000"/>
              </a:lnSpc>
              <a:spcBef>
                <a:spcPct val="50000"/>
              </a:spcBef>
            </a:pPr>
            <a:fld id="{8B1A0A6B-8AF9-438A-B515-493855519A30}" type="slidenum">
              <a:rPr lang="de-DE" smtClean="0">
                <a:latin typeface="DIN-Medium" pitchFamily="34" charset="0"/>
                <a:cs typeface="+mn-cs"/>
              </a:rPr>
              <a:pPr algn="r">
                <a:lnSpc>
                  <a:spcPct val="110000"/>
                </a:lnSpc>
                <a:spcBef>
                  <a:spcPct val="50000"/>
                </a:spcBef>
              </a:pPr>
              <a:t>4</a:t>
            </a:fld>
            <a:endParaRPr lang="de-DE" smtClean="0">
              <a:latin typeface="DIN-Medium" pitchFamily="34" charset="0"/>
              <a:cs typeface="+mn-cs"/>
            </a:endParaRPr>
          </a:p>
        </p:txBody>
      </p:sp>
      <p:sp>
        <p:nvSpPr>
          <p:cNvPr id="3379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55663" y="744538"/>
            <a:ext cx="4965700" cy="3724275"/>
          </a:xfrm>
          <a:ln/>
        </p:spPr>
      </p:sp>
      <p:sp>
        <p:nvSpPr>
          <p:cNvPr id="3379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66598" y="4714042"/>
            <a:ext cx="5335893" cy="4467939"/>
          </a:xfrm>
          <a:noFill/>
        </p:spPr>
        <p:txBody>
          <a:bodyPr lIns="100213" tIns="50106" rIns="100213" bIns="50106"/>
          <a:lstStyle/>
          <a:p>
            <a:pPr eaLnBrk="1" hangingPunct="1"/>
            <a:endParaRPr lang="en-US" smtClean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854075" y="744538"/>
            <a:ext cx="4960938" cy="3722687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85F4BF9-BDF4-4A00-A6A2-84386BEF1C3E}" type="slidenum">
              <a:rPr lang="de-DE" smtClean="0"/>
              <a:pPr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xmlns="" val="320818764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Rectangle 7"/>
          <p:cNvSpPr txBox="1">
            <a:spLocks noGrp="1" noChangeArrowheads="1"/>
          </p:cNvSpPr>
          <p:nvPr/>
        </p:nvSpPr>
        <p:spPr bwMode="auto">
          <a:xfrm>
            <a:off x="3776866" y="9431258"/>
            <a:ext cx="2890665" cy="4953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5537" tIns="47770" rIns="95537" bIns="47770" anchor="b"/>
          <a:lstStyle>
            <a:lvl1pPr>
              <a:defRPr sz="1400">
                <a:solidFill>
                  <a:srgbClr val="000099"/>
                </a:solidFill>
                <a:latin typeface="DIN-Light" pitchFamily="34" charset="0"/>
              </a:defRPr>
            </a:lvl1pPr>
            <a:lvl2pPr marL="742950" indent="-285750">
              <a:defRPr sz="1400">
                <a:solidFill>
                  <a:srgbClr val="000099"/>
                </a:solidFill>
                <a:latin typeface="DIN-Light" pitchFamily="34" charset="0"/>
              </a:defRPr>
            </a:lvl2pPr>
            <a:lvl3pPr marL="1143000" indent="-228600">
              <a:defRPr sz="1400">
                <a:solidFill>
                  <a:srgbClr val="000099"/>
                </a:solidFill>
                <a:latin typeface="DIN-Light" pitchFamily="34" charset="0"/>
              </a:defRPr>
            </a:lvl3pPr>
            <a:lvl4pPr marL="1600200" indent="-228600">
              <a:defRPr sz="1400">
                <a:solidFill>
                  <a:srgbClr val="000099"/>
                </a:solidFill>
                <a:latin typeface="DIN-Light" pitchFamily="34" charset="0"/>
              </a:defRPr>
            </a:lvl4pPr>
            <a:lvl5pPr marL="2057400" indent="-228600">
              <a:defRPr sz="1400">
                <a:solidFill>
                  <a:srgbClr val="000099"/>
                </a:solidFill>
                <a:latin typeface="DIN-Light" pitchFamily="34" charset="0"/>
              </a:defRPr>
            </a:lvl5pPr>
            <a:lvl6pPr marL="25146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1400">
                <a:solidFill>
                  <a:srgbClr val="000099"/>
                </a:solidFill>
                <a:latin typeface="DIN-Light" pitchFamily="34" charset="0"/>
              </a:defRPr>
            </a:lvl6pPr>
            <a:lvl7pPr marL="29718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1400">
                <a:solidFill>
                  <a:srgbClr val="000099"/>
                </a:solidFill>
                <a:latin typeface="DIN-Light" pitchFamily="34" charset="0"/>
              </a:defRPr>
            </a:lvl7pPr>
            <a:lvl8pPr marL="34290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1400">
                <a:solidFill>
                  <a:srgbClr val="000099"/>
                </a:solidFill>
                <a:latin typeface="DIN-Light" pitchFamily="34" charset="0"/>
              </a:defRPr>
            </a:lvl8pPr>
            <a:lvl9pPr marL="38862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1400">
                <a:solidFill>
                  <a:srgbClr val="000099"/>
                </a:solidFill>
                <a:latin typeface="DIN-Light" pitchFamily="34" charset="0"/>
              </a:defRPr>
            </a:lvl9pPr>
          </a:lstStyle>
          <a:p>
            <a:pPr algn="r">
              <a:lnSpc>
                <a:spcPct val="110000"/>
              </a:lnSpc>
              <a:spcBef>
                <a:spcPct val="50000"/>
              </a:spcBef>
            </a:pPr>
            <a:fld id="{19E78D54-75D6-48BA-86DB-610076969564}" type="slidenum">
              <a:rPr lang="de-DE" sz="1300" smtClean="0">
                <a:solidFill>
                  <a:prstClr val="black"/>
                </a:solidFill>
                <a:latin typeface="Arial" charset="0"/>
                <a:cs typeface="+mn-cs"/>
              </a:rPr>
              <a:pPr algn="r">
                <a:lnSpc>
                  <a:spcPct val="110000"/>
                </a:lnSpc>
                <a:spcBef>
                  <a:spcPct val="50000"/>
                </a:spcBef>
              </a:pPr>
              <a:t>6</a:t>
            </a:fld>
            <a:endParaRPr lang="de-DE" sz="1300" smtClean="0">
              <a:solidFill>
                <a:prstClr val="black"/>
              </a:solidFill>
              <a:latin typeface="Arial" charset="0"/>
              <a:cs typeface="+mn-cs"/>
            </a:endParaRPr>
          </a:p>
        </p:txBody>
      </p:sp>
      <p:sp>
        <p:nvSpPr>
          <p:cNvPr id="33795" name="Rectangle 2"/>
          <p:cNvSpPr txBox="1">
            <a:spLocks noGrp="1" noChangeArrowheads="1"/>
          </p:cNvSpPr>
          <p:nvPr/>
        </p:nvSpPr>
        <p:spPr bwMode="auto">
          <a:xfrm>
            <a:off x="0" y="0"/>
            <a:ext cx="2890665" cy="4953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5523" tIns="47762" rIns="95523" bIns="47762"/>
          <a:lstStyle>
            <a:lvl1pPr defTabSz="912813">
              <a:defRPr sz="1400">
                <a:solidFill>
                  <a:srgbClr val="000099"/>
                </a:solidFill>
                <a:latin typeface="DIN-Light" pitchFamily="34" charset="0"/>
              </a:defRPr>
            </a:lvl1pPr>
            <a:lvl2pPr marL="742950" indent="-285750" defTabSz="912813">
              <a:defRPr sz="1400">
                <a:solidFill>
                  <a:srgbClr val="000099"/>
                </a:solidFill>
                <a:latin typeface="DIN-Light" pitchFamily="34" charset="0"/>
              </a:defRPr>
            </a:lvl2pPr>
            <a:lvl3pPr marL="1143000" indent="-228600" defTabSz="912813">
              <a:defRPr sz="1400">
                <a:solidFill>
                  <a:srgbClr val="000099"/>
                </a:solidFill>
                <a:latin typeface="DIN-Light" pitchFamily="34" charset="0"/>
              </a:defRPr>
            </a:lvl3pPr>
            <a:lvl4pPr marL="1600200" indent="-228600" defTabSz="912813">
              <a:defRPr sz="1400">
                <a:solidFill>
                  <a:srgbClr val="000099"/>
                </a:solidFill>
                <a:latin typeface="DIN-Light" pitchFamily="34" charset="0"/>
              </a:defRPr>
            </a:lvl4pPr>
            <a:lvl5pPr marL="2057400" indent="-228600" defTabSz="912813">
              <a:defRPr sz="1400">
                <a:solidFill>
                  <a:srgbClr val="000099"/>
                </a:solidFill>
                <a:latin typeface="DIN-Light" pitchFamily="34" charset="0"/>
              </a:defRPr>
            </a:lvl5pPr>
            <a:lvl6pPr marL="2514600" indent="-228600" defTabSz="912813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1400">
                <a:solidFill>
                  <a:srgbClr val="000099"/>
                </a:solidFill>
                <a:latin typeface="DIN-Light" pitchFamily="34" charset="0"/>
              </a:defRPr>
            </a:lvl6pPr>
            <a:lvl7pPr marL="2971800" indent="-228600" defTabSz="912813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1400">
                <a:solidFill>
                  <a:srgbClr val="000099"/>
                </a:solidFill>
                <a:latin typeface="DIN-Light" pitchFamily="34" charset="0"/>
              </a:defRPr>
            </a:lvl7pPr>
            <a:lvl8pPr marL="3429000" indent="-228600" defTabSz="912813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1400">
                <a:solidFill>
                  <a:srgbClr val="000099"/>
                </a:solidFill>
                <a:latin typeface="DIN-Light" pitchFamily="34" charset="0"/>
              </a:defRPr>
            </a:lvl8pPr>
            <a:lvl9pPr marL="3886200" indent="-228600" defTabSz="912813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1400">
                <a:solidFill>
                  <a:srgbClr val="000099"/>
                </a:solidFill>
                <a:latin typeface="DIN-Light" pitchFamily="34" charset="0"/>
              </a:defRPr>
            </a:lvl9pPr>
          </a:lstStyle>
          <a:p>
            <a:pPr>
              <a:lnSpc>
                <a:spcPct val="110000"/>
              </a:lnSpc>
              <a:spcBef>
                <a:spcPct val="50000"/>
              </a:spcBef>
            </a:pPr>
            <a:r>
              <a:rPr lang="de-DE" sz="1300" smtClean="0">
                <a:latin typeface="DIN-Medium" pitchFamily="34" charset="0"/>
                <a:cs typeface="+mn-cs"/>
              </a:rPr>
              <a:t>TEst</a:t>
            </a:r>
          </a:p>
        </p:txBody>
      </p:sp>
      <p:sp>
        <p:nvSpPr>
          <p:cNvPr id="33796" name="Rectangle 7"/>
          <p:cNvSpPr txBox="1">
            <a:spLocks noGrp="1" noChangeArrowheads="1"/>
          </p:cNvSpPr>
          <p:nvPr/>
        </p:nvSpPr>
        <p:spPr bwMode="auto">
          <a:xfrm>
            <a:off x="3776866" y="9431258"/>
            <a:ext cx="2890665" cy="4953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5523" tIns="47762" rIns="95523" bIns="47762" anchor="b"/>
          <a:lstStyle>
            <a:lvl1pPr defTabSz="912813">
              <a:defRPr sz="1400">
                <a:solidFill>
                  <a:srgbClr val="000099"/>
                </a:solidFill>
                <a:latin typeface="DIN-Light" pitchFamily="34" charset="0"/>
              </a:defRPr>
            </a:lvl1pPr>
            <a:lvl2pPr marL="742950" indent="-285750" defTabSz="912813">
              <a:defRPr sz="1400">
                <a:solidFill>
                  <a:srgbClr val="000099"/>
                </a:solidFill>
                <a:latin typeface="DIN-Light" pitchFamily="34" charset="0"/>
              </a:defRPr>
            </a:lvl2pPr>
            <a:lvl3pPr marL="1143000" indent="-228600" defTabSz="912813">
              <a:defRPr sz="1400">
                <a:solidFill>
                  <a:srgbClr val="000099"/>
                </a:solidFill>
                <a:latin typeface="DIN-Light" pitchFamily="34" charset="0"/>
              </a:defRPr>
            </a:lvl3pPr>
            <a:lvl4pPr marL="1600200" indent="-228600" defTabSz="912813">
              <a:defRPr sz="1400">
                <a:solidFill>
                  <a:srgbClr val="000099"/>
                </a:solidFill>
                <a:latin typeface="DIN-Light" pitchFamily="34" charset="0"/>
              </a:defRPr>
            </a:lvl4pPr>
            <a:lvl5pPr marL="2057400" indent="-228600" defTabSz="912813">
              <a:defRPr sz="1400">
                <a:solidFill>
                  <a:srgbClr val="000099"/>
                </a:solidFill>
                <a:latin typeface="DIN-Light" pitchFamily="34" charset="0"/>
              </a:defRPr>
            </a:lvl5pPr>
            <a:lvl6pPr marL="2514600" indent="-228600" defTabSz="912813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1400">
                <a:solidFill>
                  <a:srgbClr val="000099"/>
                </a:solidFill>
                <a:latin typeface="DIN-Light" pitchFamily="34" charset="0"/>
              </a:defRPr>
            </a:lvl6pPr>
            <a:lvl7pPr marL="2971800" indent="-228600" defTabSz="912813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1400">
                <a:solidFill>
                  <a:srgbClr val="000099"/>
                </a:solidFill>
                <a:latin typeface="DIN-Light" pitchFamily="34" charset="0"/>
              </a:defRPr>
            </a:lvl7pPr>
            <a:lvl8pPr marL="3429000" indent="-228600" defTabSz="912813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1400">
                <a:solidFill>
                  <a:srgbClr val="000099"/>
                </a:solidFill>
                <a:latin typeface="DIN-Light" pitchFamily="34" charset="0"/>
              </a:defRPr>
            </a:lvl8pPr>
            <a:lvl9pPr marL="3886200" indent="-228600" defTabSz="912813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1400">
                <a:solidFill>
                  <a:srgbClr val="000099"/>
                </a:solidFill>
                <a:latin typeface="DIN-Light" pitchFamily="34" charset="0"/>
              </a:defRPr>
            </a:lvl9pPr>
          </a:lstStyle>
          <a:p>
            <a:pPr algn="r">
              <a:lnSpc>
                <a:spcPct val="110000"/>
              </a:lnSpc>
              <a:spcBef>
                <a:spcPct val="50000"/>
              </a:spcBef>
            </a:pPr>
            <a:fld id="{95D982F7-C868-441F-AEB0-4F8D06B6C530}" type="slidenum">
              <a:rPr lang="de-DE" sz="1300" smtClean="0">
                <a:latin typeface="DIN-Medium" pitchFamily="34" charset="0"/>
                <a:cs typeface="+mn-cs"/>
              </a:rPr>
              <a:pPr algn="r">
                <a:lnSpc>
                  <a:spcPct val="110000"/>
                </a:lnSpc>
                <a:spcBef>
                  <a:spcPct val="50000"/>
                </a:spcBef>
              </a:pPr>
              <a:t>6</a:t>
            </a:fld>
            <a:endParaRPr lang="de-DE" sz="1300" smtClean="0">
              <a:latin typeface="DIN-Medium" pitchFamily="34" charset="0"/>
              <a:cs typeface="+mn-cs"/>
            </a:endParaRPr>
          </a:p>
        </p:txBody>
      </p:sp>
      <p:sp>
        <p:nvSpPr>
          <p:cNvPr id="33797" name="Rectangle 7"/>
          <p:cNvSpPr txBox="1">
            <a:spLocks noGrp="1" noChangeArrowheads="1"/>
          </p:cNvSpPr>
          <p:nvPr/>
        </p:nvSpPr>
        <p:spPr bwMode="auto">
          <a:xfrm>
            <a:off x="3776866" y="9431258"/>
            <a:ext cx="2890665" cy="4953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00213" tIns="50106" rIns="100213" bIns="50106" anchor="b"/>
          <a:lstStyle>
            <a:lvl1pPr defTabSz="958850">
              <a:defRPr sz="1400">
                <a:solidFill>
                  <a:srgbClr val="000099"/>
                </a:solidFill>
                <a:latin typeface="DIN-Light" pitchFamily="34" charset="0"/>
              </a:defRPr>
            </a:lvl1pPr>
            <a:lvl2pPr marL="742950" indent="-285750" defTabSz="958850">
              <a:defRPr sz="1400">
                <a:solidFill>
                  <a:srgbClr val="000099"/>
                </a:solidFill>
                <a:latin typeface="DIN-Light" pitchFamily="34" charset="0"/>
              </a:defRPr>
            </a:lvl2pPr>
            <a:lvl3pPr marL="1143000" indent="-228600" defTabSz="958850">
              <a:defRPr sz="1400">
                <a:solidFill>
                  <a:srgbClr val="000099"/>
                </a:solidFill>
                <a:latin typeface="DIN-Light" pitchFamily="34" charset="0"/>
              </a:defRPr>
            </a:lvl3pPr>
            <a:lvl4pPr marL="1600200" indent="-228600" defTabSz="958850">
              <a:defRPr sz="1400">
                <a:solidFill>
                  <a:srgbClr val="000099"/>
                </a:solidFill>
                <a:latin typeface="DIN-Light" pitchFamily="34" charset="0"/>
              </a:defRPr>
            </a:lvl4pPr>
            <a:lvl5pPr marL="2057400" indent="-228600" defTabSz="958850">
              <a:defRPr sz="1400">
                <a:solidFill>
                  <a:srgbClr val="000099"/>
                </a:solidFill>
                <a:latin typeface="DIN-Light" pitchFamily="34" charset="0"/>
              </a:defRPr>
            </a:lvl5pPr>
            <a:lvl6pPr marL="2514600" indent="-228600" defTabSz="95885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1400">
                <a:solidFill>
                  <a:srgbClr val="000099"/>
                </a:solidFill>
                <a:latin typeface="DIN-Light" pitchFamily="34" charset="0"/>
              </a:defRPr>
            </a:lvl6pPr>
            <a:lvl7pPr marL="2971800" indent="-228600" defTabSz="95885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1400">
                <a:solidFill>
                  <a:srgbClr val="000099"/>
                </a:solidFill>
                <a:latin typeface="DIN-Light" pitchFamily="34" charset="0"/>
              </a:defRPr>
            </a:lvl7pPr>
            <a:lvl8pPr marL="3429000" indent="-228600" defTabSz="95885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1400">
                <a:solidFill>
                  <a:srgbClr val="000099"/>
                </a:solidFill>
                <a:latin typeface="DIN-Light" pitchFamily="34" charset="0"/>
              </a:defRPr>
            </a:lvl8pPr>
            <a:lvl9pPr marL="3886200" indent="-228600" defTabSz="95885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1400">
                <a:solidFill>
                  <a:srgbClr val="000099"/>
                </a:solidFill>
                <a:latin typeface="DIN-Light" pitchFamily="34" charset="0"/>
              </a:defRPr>
            </a:lvl9pPr>
          </a:lstStyle>
          <a:p>
            <a:pPr algn="r">
              <a:lnSpc>
                <a:spcPct val="110000"/>
              </a:lnSpc>
              <a:spcBef>
                <a:spcPct val="50000"/>
              </a:spcBef>
            </a:pPr>
            <a:fld id="{8B1A0A6B-8AF9-438A-B515-493855519A30}" type="slidenum">
              <a:rPr lang="de-DE" smtClean="0">
                <a:latin typeface="DIN-Medium" pitchFamily="34" charset="0"/>
                <a:cs typeface="+mn-cs"/>
              </a:rPr>
              <a:pPr algn="r">
                <a:lnSpc>
                  <a:spcPct val="110000"/>
                </a:lnSpc>
                <a:spcBef>
                  <a:spcPct val="50000"/>
                </a:spcBef>
              </a:pPr>
              <a:t>6</a:t>
            </a:fld>
            <a:endParaRPr lang="de-DE" smtClean="0">
              <a:latin typeface="DIN-Medium" pitchFamily="34" charset="0"/>
              <a:cs typeface="+mn-cs"/>
            </a:endParaRPr>
          </a:p>
        </p:txBody>
      </p:sp>
      <p:sp>
        <p:nvSpPr>
          <p:cNvPr id="3379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55663" y="744538"/>
            <a:ext cx="4965700" cy="3724275"/>
          </a:xfrm>
          <a:ln/>
        </p:spPr>
      </p:sp>
      <p:sp>
        <p:nvSpPr>
          <p:cNvPr id="3379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66598" y="4714042"/>
            <a:ext cx="5335893" cy="4467939"/>
          </a:xfrm>
          <a:noFill/>
        </p:spPr>
        <p:txBody>
          <a:bodyPr lIns="100213" tIns="50106" rIns="100213" bIns="50106"/>
          <a:lstStyle/>
          <a:p>
            <a:pPr eaLnBrk="1" hangingPunct="1"/>
            <a:endParaRPr lang="en-US" smtClean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6" name="Rectangle 2"/>
          <p:cNvSpPr txBox="1">
            <a:spLocks noGrp="1" noChangeArrowheads="1"/>
          </p:cNvSpPr>
          <p:nvPr/>
        </p:nvSpPr>
        <p:spPr bwMode="auto">
          <a:xfrm>
            <a:off x="0" y="1"/>
            <a:ext cx="2890137" cy="4958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4831" tIns="47416" rIns="94831" bIns="47416"/>
          <a:lstStyle>
            <a:lvl1pPr defTabSz="990600">
              <a:defRPr sz="1400">
                <a:solidFill>
                  <a:srgbClr val="000099"/>
                </a:solidFill>
                <a:latin typeface="DIN-Regular" pitchFamily="34" charset="0"/>
              </a:defRPr>
            </a:lvl1pPr>
            <a:lvl2pPr marL="742950" indent="-285750" defTabSz="990600">
              <a:defRPr sz="1400">
                <a:solidFill>
                  <a:srgbClr val="000099"/>
                </a:solidFill>
                <a:latin typeface="DIN-Regular" pitchFamily="34" charset="0"/>
              </a:defRPr>
            </a:lvl2pPr>
            <a:lvl3pPr marL="1143000" indent="-228600" defTabSz="990600">
              <a:defRPr sz="1400">
                <a:solidFill>
                  <a:srgbClr val="000099"/>
                </a:solidFill>
                <a:latin typeface="DIN-Regular" pitchFamily="34" charset="0"/>
              </a:defRPr>
            </a:lvl3pPr>
            <a:lvl4pPr marL="1600200" indent="-228600" defTabSz="990600">
              <a:defRPr sz="1400">
                <a:solidFill>
                  <a:srgbClr val="000099"/>
                </a:solidFill>
                <a:latin typeface="DIN-Regular" pitchFamily="34" charset="0"/>
              </a:defRPr>
            </a:lvl4pPr>
            <a:lvl5pPr marL="2057400" indent="-228600" defTabSz="990600">
              <a:defRPr sz="1400">
                <a:solidFill>
                  <a:srgbClr val="000099"/>
                </a:solidFill>
                <a:latin typeface="DIN-Regular" pitchFamily="34" charset="0"/>
              </a:defRPr>
            </a:lvl5pPr>
            <a:lvl6pPr marL="2514600" indent="-228600" defTabSz="990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1400">
                <a:solidFill>
                  <a:srgbClr val="000099"/>
                </a:solidFill>
                <a:latin typeface="DIN-Regular" pitchFamily="34" charset="0"/>
              </a:defRPr>
            </a:lvl6pPr>
            <a:lvl7pPr marL="2971800" indent="-228600" defTabSz="990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1400">
                <a:solidFill>
                  <a:srgbClr val="000099"/>
                </a:solidFill>
                <a:latin typeface="DIN-Regular" pitchFamily="34" charset="0"/>
              </a:defRPr>
            </a:lvl7pPr>
            <a:lvl8pPr marL="3429000" indent="-228600" defTabSz="990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1400">
                <a:solidFill>
                  <a:srgbClr val="000099"/>
                </a:solidFill>
                <a:latin typeface="DIN-Regular" pitchFamily="34" charset="0"/>
              </a:defRPr>
            </a:lvl8pPr>
            <a:lvl9pPr marL="3886200" indent="-228600" defTabSz="990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1400">
                <a:solidFill>
                  <a:srgbClr val="000099"/>
                </a:solidFill>
                <a:latin typeface="DIN-Regular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de-DE" sz="1200">
                <a:solidFill>
                  <a:schemeClr val="tx1"/>
                </a:solidFill>
                <a:latin typeface="Arial" charset="0"/>
              </a:rPr>
              <a:t>TEst</a:t>
            </a:r>
          </a:p>
        </p:txBody>
      </p:sp>
      <p:sp>
        <p:nvSpPr>
          <p:cNvPr id="77827" name="Rectangle 7"/>
          <p:cNvSpPr txBox="1">
            <a:spLocks noGrp="1" noChangeArrowheads="1"/>
          </p:cNvSpPr>
          <p:nvPr/>
        </p:nvSpPr>
        <p:spPr bwMode="auto">
          <a:xfrm>
            <a:off x="3777461" y="9430813"/>
            <a:ext cx="2890137" cy="4958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4831" tIns="47416" rIns="94831" bIns="47416" anchor="b"/>
          <a:lstStyle>
            <a:lvl1pPr defTabSz="990600">
              <a:defRPr sz="1400">
                <a:solidFill>
                  <a:srgbClr val="000099"/>
                </a:solidFill>
                <a:latin typeface="DIN-Regular" pitchFamily="34" charset="0"/>
              </a:defRPr>
            </a:lvl1pPr>
            <a:lvl2pPr marL="742950" indent="-285750" defTabSz="990600">
              <a:defRPr sz="1400">
                <a:solidFill>
                  <a:srgbClr val="000099"/>
                </a:solidFill>
                <a:latin typeface="DIN-Regular" pitchFamily="34" charset="0"/>
              </a:defRPr>
            </a:lvl2pPr>
            <a:lvl3pPr marL="1143000" indent="-228600" defTabSz="990600">
              <a:defRPr sz="1400">
                <a:solidFill>
                  <a:srgbClr val="000099"/>
                </a:solidFill>
                <a:latin typeface="DIN-Regular" pitchFamily="34" charset="0"/>
              </a:defRPr>
            </a:lvl3pPr>
            <a:lvl4pPr marL="1600200" indent="-228600" defTabSz="990600">
              <a:defRPr sz="1400">
                <a:solidFill>
                  <a:srgbClr val="000099"/>
                </a:solidFill>
                <a:latin typeface="DIN-Regular" pitchFamily="34" charset="0"/>
              </a:defRPr>
            </a:lvl4pPr>
            <a:lvl5pPr marL="2057400" indent="-228600" defTabSz="990600">
              <a:defRPr sz="1400">
                <a:solidFill>
                  <a:srgbClr val="000099"/>
                </a:solidFill>
                <a:latin typeface="DIN-Regular" pitchFamily="34" charset="0"/>
              </a:defRPr>
            </a:lvl5pPr>
            <a:lvl6pPr marL="2514600" indent="-228600" defTabSz="990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1400">
                <a:solidFill>
                  <a:srgbClr val="000099"/>
                </a:solidFill>
                <a:latin typeface="DIN-Regular" pitchFamily="34" charset="0"/>
              </a:defRPr>
            </a:lvl6pPr>
            <a:lvl7pPr marL="2971800" indent="-228600" defTabSz="990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1400">
                <a:solidFill>
                  <a:srgbClr val="000099"/>
                </a:solidFill>
                <a:latin typeface="DIN-Regular" pitchFamily="34" charset="0"/>
              </a:defRPr>
            </a:lvl7pPr>
            <a:lvl8pPr marL="3429000" indent="-228600" defTabSz="990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1400">
                <a:solidFill>
                  <a:srgbClr val="000099"/>
                </a:solidFill>
                <a:latin typeface="DIN-Regular" pitchFamily="34" charset="0"/>
              </a:defRPr>
            </a:lvl8pPr>
            <a:lvl9pPr marL="3886200" indent="-228600" defTabSz="990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1400">
                <a:solidFill>
                  <a:srgbClr val="000099"/>
                </a:solidFill>
                <a:latin typeface="DIN-Regular" pitchFamily="34" charset="0"/>
              </a:defRPr>
            </a:lvl9pPr>
          </a:lstStyle>
          <a:p>
            <a:pPr algn="r" eaLnBrk="1" hangingPunct="1">
              <a:lnSpc>
                <a:spcPct val="100000"/>
              </a:lnSpc>
              <a:spcBef>
                <a:spcPct val="0"/>
              </a:spcBef>
            </a:pPr>
            <a:fld id="{23366902-6C70-448E-9740-2C5C3D388B34}" type="slidenum">
              <a:rPr lang="de-DE" sz="1200">
                <a:solidFill>
                  <a:schemeClr val="tx1"/>
                </a:solidFill>
                <a:latin typeface="Arial" charset="0"/>
              </a:rPr>
              <a:pPr algn="r" eaLnBrk="1" hangingPunct="1">
                <a:lnSpc>
                  <a:spcPct val="100000"/>
                </a:lnSpc>
                <a:spcBef>
                  <a:spcPct val="0"/>
                </a:spcBef>
              </a:pPr>
              <a:t>7</a:t>
            </a:fld>
            <a:endParaRPr lang="de-DE" sz="120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7782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54075" y="746125"/>
            <a:ext cx="4960938" cy="3721100"/>
          </a:xfrm>
          <a:ln/>
        </p:spPr>
      </p:sp>
      <p:sp>
        <p:nvSpPr>
          <p:cNvPr id="77829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US" smtClean="0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34" name="Rectangle 2"/>
          <p:cNvSpPr txBox="1">
            <a:spLocks noGrp="1" noChangeArrowheads="1"/>
          </p:cNvSpPr>
          <p:nvPr/>
        </p:nvSpPr>
        <p:spPr bwMode="auto">
          <a:xfrm>
            <a:off x="0" y="1"/>
            <a:ext cx="2890137" cy="4958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5554" tIns="47778" rIns="95554" bIns="47778"/>
          <a:lstStyle>
            <a:lvl1pPr defTabSz="990600">
              <a:defRPr sz="1400">
                <a:solidFill>
                  <a:srgbClr val="000099"/>
                </a:solidFill>
                <a:latin typeface="DIN-Regular" pitchFamily="34" charset="0"/>
              </a:defRPr>
            </a:lvl1pPr>
            <a:lvl2pPr marL="742950" indent="-285750" defTabSz="990600">
              <a:defRPr sz="1400">
                <a:solidFill>
                  <a:srgbClr val="000099"/>
                </a:solidFill>
                <a:latin typeface="DIN-Regular" pitchFamily="34" charset="0"/>
              </a:defRPr>
            </a:lvl2pPr>
            <a:lvl3pPr marL="1143000" indent="-228600" defTabSz="990600">
              <a:defRPr sz="1400">
                <a:solidFill>
                  <a:srgbClr val="000099"/>
                </a:solidFill>
                <a:latin typeface="DIN-Regular" pitchFamily="34" charset="0"/>
              </a:defRPr>
            </a:lvl3pPr>
            <a:lvl4pPr marL="1600200" indent="-228600" defTabSz="990600">
              <a:defRPr sz="1400">
                <a:solidFill>
                  <a:srgbClr val="000099"/>
                </a:solidFill>
                <a:latin typeface="DIN-Regular" pitchFamily="34" charset="0"/>
              </a:defRPr>
            </a:lvl4pPr>
            <a:lvl5pPr marL="2057400" indent="-228600" defTabSz="990600">
              <a:defRPr sz="1400">
                <a:solidFill>
                  <a:srgbClr val="000099"/>
                </a:solidFill>
                <a:latin typeface="DIN-Regular" pitchFamily="34" charset="0"/>
              </a:defRPr>
            </a:lvl5pPr>
            <a:lvl6pPr marL="2514600" indent="-228600" defTabSz="990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1400">
                <a:solidFill>
                  <a:srgbClr val="000099"/>
                </a:solidFill>
                <a:latin typeface="DIN-Regular" pitchFamily="34" charset="0"/>
              </a:defRPr>
            </a:lvl6pPr>
            <a:lvl7pPr marL="2971800" indent="-228600" defTabSz="990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1400">
                <a:solidFill>
                  <a:srgbClr val="000099"/>
                </a:solidFill>
                <a:latin typeface="DIN-Regular" pitchFamily="34" charset="0"/>
              </a:defRPr>
            </a:lvl7pPr>
            <a:lvl8pPr marL="3429000" indent="-228600" defTabSz="990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1400">
                <a:solidFill>
                  <a:srgbClr val="000099"/>
                </a:solidFill>
                <a:latin typeface="DIN-Regular" pitchFamily="34" charset="0"/>
              </a:defRPr>
            </a:lvl8pPr>
            <a:lvl9pPr marL="3886200" indent="-228600" defTabSz="990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1400">
                <a:solidFill>
                  <a:srgbClr val="000099"/>
                </a:solidFill>
                <a:latin typeface="DIN-Regular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de-DE" sz="1300">
                <a:solidFill>
                  <a:schemeClr val="tx1"/>
                </a:solidFill>
                <a:latin typeface="Arial" charset="0"/>
              </a:rPr>
              <a:t>TEst</a:t>
            </a:r>
          </a:p>
        </p:txBody>
      </p:sp>
      <p:sp>
        <p:nvSpPr>
          <p:cNvPr id="44035" name="Rectangle 7"/>
          <p:cNvSpPr txBox="1">
            <a:spLocks noGrp="1" noChangeArrowheads="1"/>
          </p:cNvSpPr>
          <p:nvPr/>
        </p:nvSpPr>
        <p:spPr bwMode="auto">
          <a:xfrm>
            <a:off x="3777461" y="9430813"/>
            <a:ext cx="2890137" cy="4958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5554" tIns="47778" rIns="95554" bIns="47778" anchor="b"/>
          <a:lstStyle>
            <a:lvl1pPr defTabSz="990600">
              <a:defRPr sz="1400">
                <a:solidFill>
                  <a:srgbClr val="000099"/>
                </a:solidFill>
                <a:latin typeface="DIN-Regular" pitchFamily="34" charset="0"/>
              </a:defRPr>
            </a:lvl1pPr>
            <a:lvl2pPr marL="742950" indent="-285750" defTabSz="990600">
              <a:defRPr sz="1400">
                <a:solidFill>
                  <a:srgbClr val="000099"/>
                </a:solidFill>
                <a:latin typeface="DIN-Regular" pitchFamily="34" charset="0"/>
              </a:defRPr>
            </a:lvl2pPr>
            <a:lvl3pPr marL="1143000" indent="-228600" defTabSz="990600">
              <a:defRPr sz="1400">
                <a:solidFill>
                  <a:srgbClr val="000099"/>
                </a:solidFill>
                <a:latin typeface="DIN-Regular" pitchFamily="34" charset="0"/>
              </a:defRPr>
            </a:lvl3pPr>
            <a:lvl4pPr marL="1600200" indent="-228600" defTabSz="990600">
              <a:defRPr sz="1400">
                <a:solidFill>
                  <a:srgbClr val="000099"/>
                </a:solidFill>
                <a:latin typeface="DIN-Regular" pitchFamily="34" charset="0"/>
              </a:defRPr>
            </a:lvl4pPr>
            <a:lvl5pPr marL="2057400" indent="-228600" defTabSz="990600">
              <a:defRPr sz="1400">
                <a:solidFill>
                  <a:srgbClr val="000099"/>
                </a:solidFill>
                <a:latin typeface="DIN-Regular" pitchFamily="34" charset="0"/>
              </a:defRPr>
            </a:lvl5pPr>
            <a:lvl6pPr marL="2514600" indent="-228600" defTabSz="990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1400">
                <a:solidFill>
                  <a:srgbClr val="000099"/>
                </a:solidFill>
                <a:latin typeface="DIN-Regular" pitchFamily="34" charset="0"/>
              </a:defRPr>
            </a:lvl6pPr>
            <a:lvl7pPr marL="2971800" indent="-228600" defTabSz="990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1400">
                <a:solidFill>
                  <a:srgbClr val="000099"/>
                </a:solidFill>
                <a:latin typeface="DIN-Regular" pitchFamily="34" charset="0"/>
              </a:defRPr>
            </a:lvl7pPr>
            <a:lvl8pPr marL="3429000" indent="-228600" defTabSz="990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1400">
                <a:solidFill>
                  <a:srgbClr val="000099"/>
                </a:solidFill>
                <a:latin typeface="DIN-Regular" pitchFamily="34" charset="0"/>
              </a:defRPr>
            </a:lvl8pPr>
            <a:lvl9pPr marL="3886200" indent="-228600" defTabSz="990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1400">
                <a:solidFill>
                  <a:srgbClr val="000099"/>
                </a:solidFill>
                <a:latin typeface="DIN-Regular" pitchFamily="34" charset="0"/>
              </a:defRPr>
            </a:lvl9pPr>
          </a:lstStyle>
          <a:p>
            <a:pPr algn="r" eaLnBrk="1" hangingPunct="1">
              <a:lnSpc>
                <a:spcPct val="100000"/>
              </a:lnSpc>
              <a:spcBef>
                <a:spcPct val="0"/>
              </a:spcBef>
            </a:pPr>
            <a:fld id="{27E538CD-5C53-430E-AA70-2CC75001F94E}" type="slidenum">
              <a:rPr lang="de-DE" sz="1300">
                <a:solidFill>
                  <a:schemeClr val="tx1"/>
                </a:solidFill>
                <a:latin typeface="Arial" charset="0"/>
              </a:rPr>
              <a:pPr algn="r" eaLnBrk="1" hangingPunct="1">
                <a:lnSpc>
                  <a:spcPct val="100000"/>
                </a:lnSpc>
                <a:spcBef>
                  <a:spcPct val="0"/>
                </a:spcBef>
              </a:pPr>
              <a:t>8</a:t>
            </a:fld>
            <a:endParaRPr lang="de-DE" sz="130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4403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54075" y="744538"/>
            <a:ext cx="4960938" cy="3722687"/>
          </a:xfrm>
          <a:ln/>
        </p:spPr>
      </p:sp>
      <p:sp>
        <p:nvSpPr>
          <p:cNvPr id="44037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US" smtClean="0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850" name="Rectangle 2"/>
          <p:cNvSpPr txBox="1">
            <a:spLocks noGrp="1" noChangeArrowheads="1"/>
          </p:cNvSpPr>
          <p:nvPr/>
        </p:nvSpPr>
        <p:spPr bwMode="auto">
          <a:xfrm>
            <a:off x="0" y="1"/>
            <a:ext cx="2890137" cy="4958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4831" tIns="47416" rIns="94831" bIns="47416"/>
          <a:lstStyle>
            <a:lvl1pPr defTabSz="990600">
              <a:defRPr sz="1400">
                <a:solidFill>
                  <a:srgbClr val="000099"/>
                </a:solidFill>
                <a:latin typeface="DIN-Regular" pitchFamily="34" charset="0"/>
              </a:defRPr>
            </a:lvl1pPr>
            <a:lvl2pPr marL="742950" indent="-285750" defTabSz="990600">
              <a:defRPr sz="1400">
                <a:solidFill>
                  <a:srgbClr val="000099"/>
                </a:solidFill>
                <a:latin typeface="DIN-Regular" pitchFamily="34" charset="0"/>
              </a:defRPr>
            </a:lvl2pPr>
            <a:lvl3pPr marL="1143000" indent="-228600" defTabSz="990600">
              <a:defRPr sz="1400">
                <a:solidFill>
                  <a:srgbClr val="000099"/>
                </a:solidFill>
                <a:latin typeface="DIN-Regular" pitchFamily="34" charset="0"/>
              </a:defRPr>
            </a:lvl3pPr>
            <a:lvl4pPr marL="1600200" indent="-228600" defTabSz="990600">
              <a:defRPr sz="1400">
                <a:solidFill>
                  <a:srgbClr val="000099"/>
                </a:solidFill>
                <a:latin typeface="DIN-Regular" pitchFamily="34" charset="0"/>
              </a:defRPr>
            </a:lvl4pPr>
            <a:lvl5pPr marL="2057400" indent="-228600" defTabSz="990600">
              <a:defRPr sz="1400">
                <a:solidFill>
                  <a:srgbClr val="000099"/>
                </a:solidFill>
                <a:latin typeface="DIN-Regular" pitchFamily="34" charset="0"/>
              </a:defRPr>
            </a:lvl5pPr>
            <a:lvl6pPr marL="2514600" indent="-228600" defTabSz="990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1400">
                <a:solidFill>
                  <a:srgbClr val="000099"/>
                </a:solidFill>
                <a:latin typeface="DIN-Regular" pitchFamily="34" charset="0"/>
              </a:defRPr>
            </a:lvl6pPr>
            <a:lvl7pPr marL="2971800" indent="-228600" defTabSz="990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1400">
                <a:solidFill>
                  <a:srgbClr val="000099"/>
                </a:solidFill>
                <a:latin typeface="DIN-Regular" pitchFamily="34" charset="0"/>
              </a:defRPr>
            </a:lvl7pPr>
            <a:lvl8pPr marL="3429000" indent="-228600" defTabSz="990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1400">
                <a:solidFill>
                  <a:srgbClr val="000099"/>
                </a:solidFill>
                <a:latin typeface="DIN-Regular" pitchFamily="34" charset="0"/>
              </a:defRPr>
            </a:lvl8pPr>
            <a:lvl9pPr marL="3886200" indent="-228600" defTabSz="990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1400">
                <a:solidFill>
                  <a:srgbClr val="000099"/>
                </a:solidFill>
                <a:latin typeface="DIN-Regular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de-DE" sz="1200">
                <a:solidFill>
                  <a:schemeClr val="tx1"/>
                </a:solidFill>
                <a:latin typeface="Arial" charset="0"/>
              </a:rPr>
              <a:t>TEst</a:t>
            </a:r>
          </a:p>
        </p:txBody>
      </p:sp>
      <p:sp>
        <p:nvSpPr>
          <p:cNvPr id="78851" name="Rectangle 7"/>
          <p:cNvSpPr txBox="1">
            <a:spLocks noGrp="1" noChangeArrowheads="1"/>
          </p:cNvSpPr>
          <p:nvPr/>
        </p:nvSpPr>
        <p:spPr bwMode="auto">
          <a:xfrm>
            <a:off x="3777461" y="9430813"/>
            <a:ext cx="2890137" cy="4958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4831" tIns="47416" rIns="94831" bIns="47416" anchor="b"/>
          <a:lstStyle>
            <a:lvl1pPr defTabSz="990600">
              <a:defRPr sz="1400">
                <a:solidFill>
                  <a:srgbClr val="000099"/>
                </a:solidFill>
                <a:latin typeface="DIN-Regular" pitchFamily="34" charset="0"/>
              </a:defRPr>
            </a:lvl1pPr>
            <a:lvl2pPr marL="742950" indent="-285750" defTabSz="990600">
              <a:defRPr sz="1400">
                <a:solidFill>
                  <a:srgbClr val="000099"/>
                </a:solidFill>
                <a:latin typeface="DIN-Regular" pitchFamily="34" charset="0"/>
              </a:defRPr>
            </a:lvl2pPr>
            <a:lvl3pPr marL="1143000" indent="-228600" defTabSz="990600">
              <a:defRPr sz="1400">
                <a:solidFill>
                  <a:srgbClr val="000099"/>
                </a:solidFill>
                <a:latin typeface="DIN-Regular" pitchFamily="34" charset="0"/>
              </a:defRPr>
            </a:lvl3pPr>
            <a:lvl4pPr marL="1600200" indent="-228600" defTabSz="990600">
              <a:defRPr sz="1400">
                <a:solidFill>
                  <a:srgbClr val="000099"/>
                </a:solidFill>
                <a:latin typeface="DIN-Regular" pitchFamily="34" charset="0"/>
              </a:defRPr>
            </a:lvl4pPr>
            <a:lvl5pPr marL="2057400" indent="-228600" defTabSz="990600">
              <a:defRPr sz="1400">
                <a:solidFill>
                  <a:srgbClr val="000099"/>
                </a:solidFill>
                <a:latin typeface="DIN-Regular" pitchFamily="34" charset="0"/>
              </a:defRPr>
            </a:lvl5pPr>
            <a:lvl6pPr marL="2514600" indent="-228600" defTabSz="990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1400">
                <a:solidFill>
                  <a:srgbClr val="000099"/>
                </a:solidFill>
                <a:latin typeface="DIN-Regular" pitchFamily="34" charset="0"/>
              </a:defRPr>
            </a:lvl6pPr>
            <a:lvl7pPr marL="2971800" indent="-228600" defTabSz="990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1400">
                <a:solidFill>
                  <a:srgbClr val="000099"/>
                </a:solidFill>
                <a:latin typeface="DIN-Regular" pitchFamily="34" charset="0"/>
              </a:defRPr>
            </a:lvl7pPr>
            <a:lvl8pPr marL="3429000" indent="-228600" defTabSz="990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1400">
                <a:solidFill>
                  <a:srgbClr val="000099"/>
                </a:solidFill>
                <a:latin typeface="DIN-Regular" pitchFamily="34" charset="0"/>
              </a:defRPr>
            </a:lvl8pPr>
            <a:lvl9pPr marL="3886200" indent="-228600" defTabSz="990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1400">
                <a:solidFill>
                  <a:srgbClr val="000099"/>
                </a:solidFill>
                <a:latin typeface="DIN-Regular" pitchFamily="34" charset="0"/>
              </a:defRPr>
            </a:lvl9pPr>
          </a:lstStyle>
          <a:p>
            <a:pPr algn="r" eaLnBrk="1" hangingPunct="1">
              <a:lnSpc>
                <a:spcPct val="100000"/>
              </a:lnSpc>
              <a:spcBef>
                <a:spcPct val="0"/>
              </a:spcBef>
            </a:pPr>
            <a:fld id="{A223A2E9-B0C2-4F93-8D99-640A18188F61}" type="slidenum">
              <a:rPr lang="de-DE" sz="1200">
                <a:solidFill>
                  <a:schemeClr val="tx1"/>
                </a:solidFill>
                <a:latin typeface="Arial" charset="0"/>
              </a:rPr>
              <a:pPr algn="r" eaLnBrk="1" hangingPunct="1">
                <a:lnSpc>
                  <a:spcPct val="100000"/>
                </a:lnSpc>
                <a:spcBef>
                  <a:spcPct val="0"/>
                </a:spcBef>
              </a:pPr>
              <a:t>9</a:t>
            </a:fld>
            <a:endParaRPr lang="de-DE" sz="120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7885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54075" y="746125"/>
            <a:ext cx="4960938" cy="3721100"/>
          </a:xfrm>
          <a:ln/>
        </p:spPr>
      </p:sp>
      <p:sp>
        <p:nvSpPr>
          <p:cNvPr id="78853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US" smtClean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85690" y="2130426"/>
            <a:ext cx="7772620" cy="1470025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371380" y="3886200"/>
            <a:ext cx="640124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de-DE" smtClean="0"/>
              <a:t>Formatvorlage des Untertitelmasters durch Klicken bearbeiten</a:t>
            </a:r>
            <a:endParaRPr lang="de-DE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ft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Dritter Deutscher Elektro-Mobil Kongress, 8-9. June 2011, Bonn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3E5CBE1-8BC2-4013-8086-FC07D778C784}" type="slidenum">
              <a:rPr lang="de-DE"/>
              <a:pPr>
                <a:defRPr/>
              </a:pPr>
              <a:t>‹#›</a:t>
            </a:fld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xmlns="" val="155498983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ft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Dritter Deutscher Elektro-Mobil Kongress, 8-9. June 2011, Bonn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998B31F-C557-49EA-9DFB-CF80978B24D3}" type="slidenum">
              <a:rPr lang="de-DE"/>
              <a:pPr>
                <a:defRPr/>
              </a:pPr>
              <a:t>‹#›</a:t>
            </a:fld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xmlns="" val="279568698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6789504" y="665163"/>
            <a:ext cx="2040954" cy="4564062"/>
          </a:xfrm>
        </p:spPr>
        <p:txBody>
          <a:bodyPr vert="eaVert"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663714" y="665163"/>
            <a:ext cx="5985136" cy="4564062"/>
          </a:xfrm>
        </p:spPr>
        <p:txBody>
          <a:bodyPr vert="eaVert"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ft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Dritter Deutscher Elektro-Mobil Kongress, 8-9. June 2011, Bonn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C730082-4913-43F0-ADA5-9F71D2E89FDC}" type="slidenum">
              <a:rPr lang="de-DE"/>
              <a:pPr>
                <a:defRPr/>
              </a:pPr>
              <a:t>‹#›</a:t>
            </a:fld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xmlns="" val="108031434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el und Tab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63714" y="665163"/>
            <a:ext cx="6940414" cy="303212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abellenplatzhalter 2"/>
          <p:cNvSpPr>
            <a:spLocks noGrp="1"/>
          </p:cNvSpPr>
          <p:nvPr>
            <p:ph type="tbl" idx="1"/>
          </p:nvPr>
        </p:nvSpPr>
        <p:spPr>
          <a:xfrm>
            <a:off x="663714" y="1809750"/>
            <a:ext cx="8166745" cy="3419475"/>
          </a:xfrm>
        </p:spPr>
        <p:txBody>
          <a:bodyPr/>
          <a:lstStyle/>
          <a:p>
            <a:pPr lvl="0"/>
            <a:endParaRPr lang="de-DE" noProof="0" dirty="0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ft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Dritter Deutscher Elektro-Mobil Kongress, 8-9. June 2011, Bonn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F453117-68F8-45CF-8C6F-9F9CE15E36AD}" type="slidenum">
              <a:rPr lang="de-DE"/>
              <a:pPr>
                <a:defRPr/>
              </a:pPr>
              <a:t>‹#›</a:t>
            </a:fld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xmlns="" val="96151252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85690" y="2130426"/>
            <a:ext cx="7772620" cy="307777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371380" y="3886200"/>
            <a:ext cx="640124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de-DE" smtClean="0"/>
              <a:t>Formatvorlage des Untertitelmasters durch Klicken bearbeiten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xmlns="" val="205483197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xmlns="" val="118062665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20" y="4406901"/>
            <a:ext cx="7772619" cy="1231106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22320" y="2906713"/>
            <a:ext cx="7772619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xmlns="" val="103228619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63714" y="1600200"/>
            <a:ext cx="2920043" cy="204628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3724411" y="1600200"/>
            <a:ext cx="2921509" cy="204628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xmlns="" val="394320948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127" y="274638"/>
            <a:ext cx="8229747" cy="307777"/>
          </a:xfrm>
        </p:spPr>
        <p:txBody>
          <a:bodyPr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127" y="1535113"/>
            <a:ext cx="404088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57127" y="2174875"/>
            <a:ext cx="404088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44525" y="1535113"/>
            <a:ext cx="4042349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44525" y="2174875"/>
            <a:ext cx="4042349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xmlns="" val="58186829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xmlns="" val="166330884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xmlns="" val="1608064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ft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2nd </a:t>
            </a:r>
            <a:r>
              <a:rPr lang="de-DE" err="1"/>
              <a:t>Electric</a:t>
            </a:r>
            <a:r>
              <a:rPr lang="de-DE"/>
              <a:t> </a:t>
            </a:r>
            <a:r>
              <a:rPr lang="de-DE" err="1"/>
              <a:t>autoMobility</a:t>
            </a:r>
            <a:r>
              <a:rPr lang="de-DE"/>
              <a:t> Europe, 3-4. November 2011, Stockholm</a:t>
            </a:r>
          </a:p>
          <a:p>
            <a:pPr>
              <a:defRPr/>
            </a:pPr>
            <a:endParaRPr lang="de-DE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23847E0-3CC9-4566-9277-F1ADA92C648E}" type="slidenum">
              <a:rPr lang="de-DE"/>
              <a:pPr>
                <a:defRPr/>
              </a:pPr>
              <a:t>‹#›</a:t>
            </a:fld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xmlns="" val="207048623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127" y="819547"/>
            <a:ext cx="3007953" cy="615553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574965" y="273051"/>
            <a:ext cx="5111908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57127" y="1435101"/>
            <a:ext cx="300795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xmlns="" val="327337352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1879" y="5059561"/>
            <a:ext cx="5486985" cy="30777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791879" y="612775"/>
            <a:ext cx="5486985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de-DE" noProof="0" dirty="0" smtClean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791879" y="5367338"/>
            <a:ext cx="5486985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xmlns="" val="19338131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xmlns="" val="261126447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6030366" y="539750"/>
            <a:ext cx="615553" cy="3106738"/>
          </a:xfrm>
        </p:spPr>
        <p:txBody>
          <a:bodyPr vert="eaVert"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663713" y="539750"/>
            <a:ext cx="4347099" cy="3106738"/>
          </a:xfrm>
        </p:spPr>
        <p:txBody>
          <a:bodyPr vert="eaVert"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xmlns="" val="307095257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63714" y="539750"/>
            <a:ext cx="5979276" cy="304800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xmlns="" val="294173357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20" y="4406901"/>
            <a:ext cx="7772619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22320" y="2906713"/>
            <a:ext cx="7772619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4" name="Rectangle 3"/>
          <p:cNvSpPr>
            <a:spLocks noGrp="1" noChangeArrowheads="1"/>
          </p:cNvSpPr>
          <p:nvPr>
            <p:ph type="ft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Dritter Deutscher Elektro-Mobil Kongress, 8-9. June 2011, Bonn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F618371-EBD7-4A7C-9476-75723AC07C58}" type="slidenum">
              <a:rPr lang="de-DE"/>
              <a:pPr>
                <a:defRPr/>
              </a:pPr>
              <a:t>‹#›</a:t>
            </a:fld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xmlns="" val="120996947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63713" y="1809750"/>
            <a:ext cx="4013045" cy="34194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817413" y="1809750"/>
            <a:ext cx="4013046" cy="34194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ft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Dritter Deutscher Elektro-Mobil Kongress, 8-9. June 2011, Bonn</a:t>
            </a:r>
          </a:p>
        </p:txBody>
      </p:sp>
      <p:sp>
        <p:nvSpPr>
          <p:cNvPr id="6" name="Rectangle 4"/>
          <p:cNvSpPr>
            <a:spLocks noGrp="1" noChangeArrowheads="1"/>
          </p:cNvSpPr>
          <p:nvPr>
            <p:ph type="sldNum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C7A8E98-D664-452A-AFFE-2815F6664972}" type="slidenum">
              <a:rPr lang="de-DE"/>
              <a:pPr>
                <a:defRPr/>
              </a:pPr>
              <a:t>‹#›</a:t>
            </a:fld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xmlns="" val="10769992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127" y="274638"/>
            <a:ext cx="8229747" cy="1143000"/>
          </a:xfrm>
        </p:spPr>
        <p:txBody>
          <a:bodyPr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127" y="1535113"/>
            <a:ext cx="404088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57127" y="2174875"/>
            <a:ext cx="404088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44525" y="1535113"/>
            <a:ext cx="4042349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44525" y="2174875"/>
            <a:ext cx="4042349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7" name="Rectangle 3"/>
          <p:cNvSpPr>
            <a:spLocks noGrp="1" noChangeArrowheads="1"/>
          </p:cNvSpPr>
          <p:nvPr>
            <p:ph type="ft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Dritter Deutscher Elektro-Mobil Kongress, 8-9. June 2011, Bonn</a:t>
            </a:r>
          </a:p>
        </p:txBody>
      </p:sp>
      <p:sp>
        <p:nvSpPr>
          <p:cNvPr id="8" name="Rectangle 4"/>
          <p:cNvSpPr>
            <a:spLocks noGrp="1" noChangeArrowheads="1"/>
          </p:cNvSpPr>
          <p:nvPr>
            <p:ph type="sldNum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F20A0F2-BD45-4A0D-B7B3-EDC8CD2A0268}" type="slidenum">
              <a:rPr lang="de-DE"/>
              <a:pPr>
                <a:defRPr/>
              </a:pPr>
              <a:t>‹#›</a:t>
            </a:fld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xmlns="" val="271929002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Rectangle 3"/>
          <p:cNvSpPr>
            <a:spLocks noGrp="1" noChangeArrowheads="1"/>
          </p:cNvSpPr>
          <p:nvPr>
            <p:ph type="ft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Dritter Deutscher Elektro-Mobil Kongress, 8-9. June 2011, Bonn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6F7C7F9-9635-4110-BD66-51153B6D2085}" type="slidenum">
              <a:rPr lang="de-DE"/>
              <a:pPr>
                <a:defRPr/>
              </a:pPr>
              <a:t>‹#›</a:t>
            </a:fld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xmlns="" val="388688477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"/>
          <p:cNvSpPr>
            <a:spLocks noGrp="1" noChangeArrowheads="1"/>
          </p:cNvSpPr>
          <p:nvPr>
            <p:ph type="ft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Dritter Deutscher Elektro-Mobil Kongress, 8-9. June 2011, Bonn</a:t>
            </a:r>
          </a:p>
        </p:txBody>
      </p:sp>
      <p:sp>
        <p:nvSpPr>
          <p:cNvPr id="3" name="Rectangle 4"/>
          <p:cNvSpPr>
            <a:spLocks noGrp="1" noChangeArrowheads="1"/>
          </p:cNvSpPr>
          <p:nvPr>
            <p:ph type="sldNum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25F6FB1-4B25-4CBA-A691-2275A2A88068}" type="slidenum">
              <a:rPr lang="de-DE"/>
              <a:pPr>
                <a:defRPr/>
              </a:pPr>
              <a:t>‹#›</a:t>
            </a:fld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xmlns="" val="158983276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127" y="273050"/>
            <a:ext cx="300795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574965" y="273051"/>
            <a:ext cx="5111908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57127" y="1435101"/>
            <a:ext cx="300795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ft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Dritter Deutscher Elektro-Mobil Kongress, 8-9. June 2011, Bonn</a:t>
            </a:r>
          </a:p>
        </p:txBody>
      </p:sp>
      <p:sp>
        <p:nvSpPr>
          <p:cNvPr id="6" name="Rectangle 4"/>
          <p:cNvSpPr>
            <a:spLocks noGrp="1" noChangeArrowheads="1"/>
          </p:cNvSpPr>
          <p:nvPr>
            <p:ph type="sldNum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4B0C2F6-8143-498F-B854-EF7E31FCD868}" type="slidenum">
              <a:rPr lang="de-DE"/>
              <a:pPr>
                <a:defRPr/>
              </a:pPr>
              <a:t>‹#›</a:t>
            </a:fld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xmlns="" val="396764614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1879" y="4800600"/>
            <a:ext cx="5486985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791879" y="612775"/>
            <a:ext cx="5486985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de-DE" noProof="0" dirty="0" smtClean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791879" y="5367338"/>
            <a:ext cx="5486985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ft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Dritter Deutscher Elektro-Mobil Kongress, 8-9. June 2011, Bonn</a:t>
            </a:r>
          </a:p>
        </p:txBody>
      </p:sp>
      <p:sp>
        <p:nvSpPr>
          <p:cNvPr id="6" name="Rectangle 4"/>
          <p:cNvSpPr>
            <a:spLocks noGrp="1" noChangeArrowheads="1"/>
          </p:cNvSpPr>
          <p:nvPr>
            <p:ph type="sldNum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99A18F7-9A8C-46F0-9313-4DF1CEE1CF03}" type="slidenum">
              <a:rPr lang="de-DE"/>
              <a:pPr>
                <a:defRPr/>
              </a:pPr>
              <a:t>‹#›</a:t>
            </a:fld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xmlns="" val="55916295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theme" Target="../theme/theme2.xml"/><Relationship Id="rId18" Type="http://schemas.openxmlformats.org/officeDocument/2006/relationships/image" Target="PowerServer%20A%20-%20L:Jobs%20A%20-%20L:EnBW:Realisierung:115_4_2%20PPT/internet_HV%20:115_4_2_ppt_titel_folien_HV:" TargetMode="Externa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17" Type="http://schemas.openxmlformats.org/officeDocument/2006/relationships/image" Target="../media/image1.png"/><Relationship Id="rId2" Type="http://schemas.openxmlformats.org/officeDocument/2006/relationships/slideLayout" Target="../slideLayouts/slideLayout14.xml"/><Relationship Id="rId16" Type="http://schemas.openxmlformats.org/officeDocument/2006/relationships/image" Target="PowerServer%20A%20-%20L:Jobs%20A%20-%20L:EnBW:Realisierung:112.1_PPT_Allgemein:PPT_stufe_3:" TargetMode="Externa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5" Type="http://schemas.openxmlformats.org/officeDocument/2006/relationships/image" Target="../media/image3.jpeg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image" Target="../media/image2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1"/>
          <p:cNvSpPr>
            <a:spLocks noChangeArrowheads="1"/>
          </p:cNvSpPr>
          <p:nvPr/>
        </p:nvSpPr>
        <p:spPr bwMode="auto">
          <a:xfrm>
            <a:off x="7705725" y="0"/>
            <a:ext cx="1436688" cy="1601788"/>
          </a:xfrm>
          <a:prstGeom prst="rect">
            <a:avLst/>
          </a:prstGeom>
          <a:solidFill>
            <a:srgbClr val="E6E6E6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/>
          <a:p>
            <a:pPr eaLnBrk="0" hangingPunct="0">
              <a:buClr>
                <a:srgbClr val="000000"/>
              </a:buClr>
              <a:buSzPct val="100000"/>
              <a:buFont typeface="Times New Roman" pitchFamily="18" charset="0"/>
              <a:buNone/>
            </a:pPr>
            <a:endParaRPr lang="de-DE"/>
          </a:p>
        </p:txBody>
      </p:sp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63575" y="665163"/>
            <a:ext cx="6940550" cy="303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smtClean="0"/>
              <a:t>Klicken Sie, um das Format des Titeltextes zu bearbeiten</a:t>
            </a:r>
          </a:p>
        </p:txBody>
      </p:sp>
      <p:sp>
        <p:nvSpPr>
          <p:cNvPr id="2" name="Rectangle 3"/>
          <p:cNvSpPr>
            <a:spLocks noGrp="1" noChangeArrowheads="1"/>
          </p:cNvSpPr>
          <p:nvPr>
            <p:ph type="ftr"/>
          </p:nvPr>
        </p:nvSpPr>
        <p:spPr bwMode="auto">
          <a:xfrm>
            <a:off x="1547813" y="6559550"/>
            <a:ext cx="6056312" cy="150813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eaLnBrk="0" hangingPunct="0">
              <a:buClr>
                <a:srgbClr val="000000"/>
              </a:buClr>
              <a:buSzPct val="100000"/>
              <a:buFont typeface="Times New Roman" pitchFamily="18" charset="0"/>
              <a:buNone/>
              <a:defRPr sz="1000">
                <a:solidFill>
                  <a:schemeClr val="bg2"/>
                </a:solidFill>
                <a:latin typeface="DIN-Medium" pitchFamily="34" charset="0"/>
              </a:defRPr>
            </a:lvl1pPr>
          </a:lstStyle>
          <a:p>
            <a:pPr>
              <a:defRPr/>
            </a:pPr>
            <a:r>
              <a:rPr lang="de-DE"/>
              <a:t>2nd </a:t>
            </a:r>
            <a:r>
              <a:rPr lang="de-DE" err="1"/>
              <a:t>Electric</a:t>
            </a:r>
            <a:r>
              <a:rPr lang="de-DE"/>
              <a:t> </a:t>
            </a:r>
            <a:r>
              <a:rPr lang="de-DE" err="1"/>
              <a:t>autoMobility</a:t>
            </a:r>
            <a:r>
              <a:rPr lang="de-DE"/>
              <a:t> Europe, 3-4. November 2011, Stockholm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sldNum"/>
          </p:nvPr>
        </p:nvSpPr>
        <p:spPr bwMode="auto">
          <a:xfrm>
            <a:off x="358775" y="6524625"/>
            <a:ext cx="354013" cy="363538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eaLnBrk="0" hangingPunct="0">
              <a:buClr>
                <a:srgbClr val="000000"/>
              </a:buClr>
              <a:buSzPct val="100000"/>
              <a:buFont typeface="Times New Roman" pitchFamily="18" charset="0"/>
              <a:buNone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1200">
                <a:solidFill>
                  <a:srgbClr val="999999"/>
                </a:solidFill>
                <a:latin typeface="+mn-lt"/>
                <a:ea typeface="+mn-ea"/>
              </a:defRPr>
            </a:lvl1pPr>
          </a:lstStyle>
          <a:p>
            <a:pPr>
              <a:defRPr/>
            </a:pPr>
            <a:fld id="{881E8531-ECC7-4096-B108-C0EA55C4847B}" type="slidenum">
              <a:rPr lang="de-DE"/>
              <a:pPr>
                <a:defRPr/>
              </a:pPr>
              <a:t>‹#›</a:t>
            </a:fld>
            <a:r>
              <a:rPr lang="de-DE" dirty="0"/>
              <a:t> </a:t>
            </a:r>
          </a:p>
        </p:txBody>
      </p:sp>
      <p:sp>
        <p:nvSpPr>
          <p:cNvPr id="1030" name="Freeform 5"/>
          <p:cNvSpPr>
            <a:spLocks noChangeArrowheads="1"/>
          </p:cNvSpPr>
          <p:nvPr/>
        </p:nvSpPr>
        <p:spPr bwMode="auto">
          <a:xfrm flipH="1">
            <a:off x="323850" y="333375"/>
            <a:ext cx="6835775" cy="1079500"/>
          </a:xfrm>
          <a:custGeom>
            <a:avLst/>
            <a:gdLst>
              <a:gd name="T0" fmla="*/ 0 w 4608"/>
              <a:gd name="T1" fmla="*/ 0 h 3264"/>
              <a:gd name="T2" fmla="*/ 2147483647 w 4608"/>
              <a:gd name="T3" fmla="*/ 0 h 3264"/>
              <a:gd name="T4" fmla="*/ 2147483647 w 4608"/>
              <a:gd name="T5" fmla="*/ 2147483647 h 3264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4608" h="3264">
                <a:moveTo>
                  <a:pt x="0" y="0"/>
                </a:moveTo>
                <a:lnTo>
                  <a:pt x="4608" y="0"/>
                </a:lnTo>
                <a:lnTo>
                  <a:pt x="4608" y="3264"/>
                </a:lnTo>
              </a:path>
            </a:pathLst>
          </a:custGeom>
          <a:noFill/>
          <a:ln w="9360">
            <a:solidFill>
              <a:srgbClr val="CCCCCC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/>
          <a:p>
            <a:endParaRPr lang="de-DE"/>
          </a:p>
        </p:txBody>
      </p:sp>
      <p:pic>
        <p:nvPicPr>
          <p:cNvPr id="1031" name="Picture 6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313613" y="833438"/>
            <a:ext cx="1524000" cy="2587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</p:pic>
      <p:sp>
        <p:nvSpPr>
          <p:cNvPr id="1032" name="Freeform 7"/>
          <p:cNvSpPr>
            <a:spLocks noChangeArrowheads="1"/>
          </p:cNvSpPr>
          <p:nvPr/>
        </p:nvSpPr>
        <p:spPr bwMode="auto">
          <a:xfrm flipH="1">
            <a:off x="323850" y="1600200"/>
            <a:ext cx="8815388" cy="5237163"/>
          </a:xfrm>
          <a:custGeom>
            <a:avLst/>
            <a:gdLst>
              <a:gd name="T0" fmla="*/ 0 w 4608"/>
              <a:gd name="T1" fmla="*/ 0 h 3264"/>
              <a:gd name="T2" fmla="*/ 2147483647 w 4608"/>
              <a:gd name="T3" fmla="*/ 0 h 3264"/>
              <a:gd name="T4" fmla="*/ 2147483647 w 4608"/>
              <a:gd name="T5" fmla="*/ 2147483647 h 3264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4608" h="3264">
                <a:moveTo>
                  <a:pt x="0" y="0"/>
                </a:moveTo>
                <a:lnTo>
                  <a:pt x="4608" y="0"/>
                </a:lnTo>
                <a:lnTo>
                  <a:pt x="4608" y="3264"/>
                </a:lnTo>
              </a:path>
            </a:pathLst>
          </a:custGeom>
          <a:noFill/>
          <a:ln w="9360">
            <a:solidFill>
              <a:srgbClr val="CCCCCC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/>
          <a:p>
            <a:endParaRPr lang="de-DE"/>
          </a:p>
        </p:txBody>
      </p:sp>
      <p:sp>
        <p:nvSpPr>
          <p:cNvPr id="1033" name="Rectangle 8"/>
          <p:cNvSpPr>
            <a:spLocks noGrp="1" noChangeArrowheads="1"/>
          </p:cNvSpPr>
          <p:nvPr>
            <p:ph type="body" idx="1"/>
          </p:nvPr>
        </p:nvSpPr>
        <p:spPr bwMode="auto">
          <a:xfrm>
            <a:off x="663575" y="1809750"/>
            <a:ext cx="8166100" cy="3419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smtClean="0"/>
              <a:t>Klicken Sie, um die Formate des Gliederungstextes zu bearbeiten</a:t>
            </a:r>
          </a:p>
          <a:p>
            <a:pPr lvl="1"/>
            <a:r>
              <a:rPr lang="en-GB" smtClean="0"/>
              <a:t>Zweite Gliederungsebene</a:t>
            </a:r>
          </a:p>
          <a:p>
            <a:pPr lvl="2"/>
            <a:r>
              <a:rPr lang="en-GB" smtClean="0"/>
              <a:t>Dritte Gliederungsebene</a:t>
            </a:r>
          </a:p>
          <a:p>
            <a:pPr lvl="3"/>
            <a:r>
              <a:rPr lang="en-GB" smtClean="0"/>
              <a:t>Vierte Gliederungsebene</a:t>
            </a:r>
          </a:p>
          <a:p>
            <a:pPr lvl="4"/>
            <a:r>
              <a:rPr lang="en-GB" smtClean="0"/>
              <a:t>Fünfte Gliederungsebene</a:t>
            </a:r>
          </a:p>
          <a:p>
            <a:pPr lvl="4"/>
            <a:r>
              <a:rPr lang="en-GB" smtClean="0"/>
              <a:t>Sechste Gliederungsebene</a:t>
            </a:r>
          </a:p>
          <a:p>
            <a:pPr lvl="4"/>
            <a:r>
              <a:rPr lang="en-GB" smtClean="0"/>
              <a:t>Siebente Gliederungsebene</a:t>
            </a:r>
          </a:p>
          <a:p>
            <a:pPr lvl="4"/>
            <a:r>
              <a:rPr lang="en-GB" smtClean="0"/>
              <a:t>Achte Gliederungsebene</a:t>
            </a:r>
          </a:p>
          <a:p>
            <a:pPr lvl="4"/>
            <a:r>
              <a:rPr lang="en-GB" smtClean="0"/>
              <a:t>Neunte Gliederungsebene</a:t>
            </a:r>
          </a:p>
        </p:txBody>
      </p:sp>
      <p:sp>
        <p:nvSpPr>
          <p:cNvPr id="1034" name="Rectangle 9"/>
          <p:cNvSpPr>
            <a:spLocks noChangeArrowheads="1"/>
          </p:cNvSpPr>
          <p:nvPr/>
        </p:nvSpPr>
        <p:spPr bwMode="auto">
          <a:xfrm>
            <a:off x="1524000" y="1227138"/>
            <a:ext cx="6094413" cy="4402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/>
          <a:p>
            <a:pPr eaLnBrk="0" hangingPunct="0">
              <a:buClr>
                <a:srgbClr val="000000"/>
              </a:buClr>
              <a:buSzPct val="100000"/>
              <a:buFont typeface="Times New Roman" pitchFamily="18" charset="0"/>
              <a:buNone/>
            </a:pPr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78" r:id="rId1"/>
    <p:sldLayoutId id="2147483879" r:id="rId2"/>
    <p:sldLayoutId id="2147483880" r:id="rId3"/>
    <p:sldLayoutId id="2147483881" r:id="rId4"/>
    <p:sldLayoutId id="2147483882" r:id="rId5"/>
    <p:sldLayoutId id="2147483883" r:id="rId6"/>
    <p:sldLayoutId id="2147483884" r:id="rId7"/>
    <p:sldLayoutId id="2147483885" r:id="rId8"/>
    <p:sldLayoutId id="2147483886" r:id="rId9"/>
    <p:sldLayoutId id="2147483887" r:id="rId10"/>
    <p:sldLayoutId id="2147483888" r:id="rId11"/>
    <p:sldLayoutId id="2147483889" r:id="rId12"/>
  </p:sldLayoutIdLst>
  <p:hf sldNum="0" hdr="0" dt="0"/>
  <p:txStyles>
    <p:titleStyle>
      <a:lvl1pPr algn="l" defTabSz="449263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defRPr sz="2000">
          <a:solidFill>
            <a:srgbClr val="000099"/>
          </a:solidFill>
          <a:latin typeface="+mj-lt"/>
          <a:ea typeface="Lucida Sans Unicode" pitchFamily="34" charset="0"/>
          <a:cs typeface="+mj-cs"/>
        </a:defRPr>
      </a:lvl1pPr>
      <a:lvl2pPr algn="l" defTabSz="449263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defRPr sz="2000">
          <a:solidFill>
            <a:srgbClr val="000099"/>
          </a:solidFill>
          <a:latin typeface="DIN-Medium" pitchFamily="34" charset="0"/>
          <a:ea typeface="Lucida Sans Unicode" pitchFamily="34" charset="0"/>
          <a:cs typeface="Lucida Sans Unicode" pitchFamily="34" charset="0"/>
        </a:defRPr>
      </a:lvl2pPr>
      <a:lvl3pPr algn="l" defTabSz="449263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defRPr sz="2000">
          <a:solidFill>
            <a:srgbClr val="000099"/>
          </a:solidFill>
          <a:latin typeface="DIN-Medium" pitchFamily="34" charset="0"/>
          <a:ea typeface="Lucida Sans Unicode" pitchFamily="34" charset="0"/>
          <a:cs typeface="Lucida Sans Unicode" pitchFamily="34" charset="0"/>
        </a:defRPr>
      </a:lvl3pPr>
      <a:lvl4pPr algn="l" defTabSz="449263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defRPr sz="2000">
          <a:solidFill>
            <a:srgbClr val="000099"/>
          </a:solidFill>
          <a:latin typeface="DIN-Medium" pitchFamily="34" charset="0"/>
          <a:ea typeface="Lucida Sans Unicode" pitchFamily="34" charset="0"/>
          <a:cs typeface="Lucida Sans Unicode" pitchFamily="34" charset="0"/>
        </a:defRPr>
      </a:lvl4pPr>
      <a:lvl5pPr algn="l" defTabSz="449263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defRPr sz="2000">
          <a:solidFill>
            <a:srgbClr val="000099"/>
          </a:solidFill>
          <a:latin typeface="DIN-Medium" pitchFamily="34" charset="0"/>
          <a:ea typeface="Lucida Sans Unicode" pitchFamily="34" charset="0"/>
          <a:cs typeface="Lucida Sans Unicode" pitchFamily="34" charset="0"/>
        </a:defRPr>
      </a:lvl5pPr>
      <a:lvl6pPr marL="2514600" indent="-228600" algn="l" defTabSz="449263" rtl="0" fontAlgn="base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defRPr sz="2000">
          <a:solidFill>
            <a:srgbClr val="000099"/>
          </a:solidFill>
          <a:latin typeface="DIN-Medium" pitchFamily="34" charset="0"/>
          <a:cs typeface="Lucida Sans Unicode" pitchFamily="34" charset="0"/>
        </a:defRPr>
      </a:lvl6pPr>
      <a:lvl7pPr marL="2971800" indent="-228600" algn="l" defTabSz="449263" rtl="0" fontAlgn="base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defRPr sz="2000">
          <a:solidFill>
            <a:srgbClr val="000099"/>
          </a:solidFill>
          <a:latin typeface="DIN-Medium" pitchFamily="34" charset="0"/>
          <a:cs typeface="Lucida Sans Unicode" pitchFamily="34" charset="0"/>
        </a:defRPr>
      </a:lvl7pPr>
      <a:lvl8pPr marL="3429000" indent="-228600" algn="l" defTabSz="449263" rtl="0" fontAlgn="base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defRPr sz="2000">
          <a:solidFill>
            <a:srgbClr val="000099"/>
          </a:solidFill>
          <a:latin typeface="DIN-Medium" pitchFamily="34" charset="0"/>
          <a:cs typeface="Lucida Sans Unicode" pitchFamily="34" charset="0"/>
        </a:defRPr>
      </a:lvl8pPr>
      <a:lvl9pPr marL="3886200" indent="-228600" algn="l" defTabSz="449263" rtl="0" fontAlgn="base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defRPr sz="2000">
          <a:solidFill>
            <a:srgbClr val="000099"/>
          </a:solidFill>
          <a:latin typeface="DIN-Medium" pitchFamily="34" charset="0"/>
          <a:cs typeface="Lucida Sans Unicode" pitchFamily="34" charset="0"/>
        </a:defRPr>
      </a:lvl9pPr>
    </p:titleStyle>
    <p:bodyStyle>
      <a:lvl1pPr marL="342900" indent="-342900" algn="l" defTabSz="449263" rtl="0" eaLnBrk="0" fontAlgn="base" hangingPunct="0">
        <a:lnSpc>
          <a:spcPct val="110000"/>
        </a:lnSpc>
        <a:spcBef>
          <a:spcPts val="100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defRPr sz="1600">
          <a:solidFill>
            <a:srgbClr val="000000"/>
          </a:solidFill>
          <a:latin typeface="+mn-lt"/>
          <a:ea typeface="Lucida Sans Unicode" pitchFamily="34" charset="0"/>
          <a:cs typeface="+mn-cs"/>
        </a:defRPr>
      </a:lvl1pPr>
      <a:lvl2pPr marL="742950" indent="-285750" algn="l" defTabSz="449263" rtl="0" eaLnBrk="0" fontAlgn="base" hangingPunct="0">
        <a:lnSpc>
          <a:spcPct val="110000"/>
        </a:lnSpc>
        <a:spcBef>
          <a:spcPts val="100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defRPr sz="1600">
          <a:solidFill>
            <a:srgbClr val="000000"/>
          </a:solidFill>
          <a:latin typeface="+mn-lt"/>
          <a:ea typeface="Lucida Sans Unicode" pitchFamily="34" charset="0"/>
          <a:cs typeface="+mn-cs"/>
        </a:defRPr>
      </a:lvl2pPr>
      <a:lvl3pPr marL="1143000" indent="-228600" algn="l" defTabSz="449263" rtl="0" eaLnBrk="0" fontAlgn="base" hangingPunct="0">
        <a:lnSpc>
          <a:spcPct val="110000"/>
        </a:lnSpc>
        <a:spcBef>
          <a:spcPts val="100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defRPr sz="1600">
          <a:solidFill>
            <a:srgbClr val="000000"/>
          </a:solidFill>
          <a:latin typeface="+mn-lt"/>
          <a:ea typeface="Lucida Sans Unicode" pitchFamily="34" charset="0"/>
          <a:cs typeface="+mn-cs"/>
        </a:defRPr>
      </a:lvl3pPr>
      <a:lvl4pPr marL="1600200" indent="-228600" algn="l" defTabSz="449263" rtl="0" eaLnBrk="0" fontAlgn="base" hangingPunct="0">
        <a:lnSpc>
          <a:spcPct val="110000"/>
        </a:lnSpc>
        <a:spcBef>
          <a:spcPts val="100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defRPr sz="1600">
          <a:solidFill>
            <a:srgbClr val="000000"/>
          </a:solidFill>
          <a:latin typeface="+mn-lt"/>
          <a:ea typeface="Lucida Sans Unicode" pitchFamily="34" charset="0"/>
          <a:cs typeface="+mn-cs"/>
        </a:defRPr>
      </a:lvl4pPr>
      <a:lvl5pPr marL="2057400" indent="-228600" algn="l" defTabSz="449263" rtl="0" eaLnBrk="0" fontAlgn="base" hangingPunct="0">
        <a:lnSpc>
          <a:spcPct val="110000"/>
        </a:lnSpc>
        <a:spcBef>
          <a:spcPts val="100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defRPr sz="1600">
          <a:solidFill>
            <a:srgbClr val="000000"/>
          </a:solidFill>
          <a:latin typeface="+mn-lt"/>
          <a:ea typeface="Lucida Sans Unicode" pitchFamily="34" charset="0"/>
          <a:cs typeface="+mn-cs"/>
        </a:defRPr>
      </a:lvl5pPr>
      <a:lvl6pPr marL="2514600" indent="-228600" algn="l" defTabSz="449263" rtl="0" fontAlgn="base">
        <a:lnSpc>
          <a:spcPct val="110000"/>
        </a:lnSpc>
        <a:spcBef>
          <a:spcPts val="100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defRPr sz="1600">
          <a:solidFill>
            <a:srgbClr val="000000"/>
          </a:solidFill>
          <a:latin typeface="+mn-lt"/>
          <a:cs typeface="+mn-cs"/>
        </a:defRPr>
      </a:lvl6pPr>
      <a:lvl7pPr marL="2971800" indent="-228600" algn="l" defTabSz="449263" rtl="0" fontAlgn="base">
        <a:lnSpc>
          <a:spcPct val="110000"/>
        </a:lnSpc>
        <a:spcBef>
          <a:spcPts val="100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defRPr sz="1600">
          <a:solidFill>
            <a:srgbClr val="000000"/>
          </a:solidFill>
          <a:latin typeface="+mn-lt"/>
          <a:cs typeface="+mn-cs"/>
        </a:defRPr>
      </a:lvl7pPr>
      <a:lvl8pPr marL="3429000" indent="-228600" algn="l" defTabSz="449263" rtl="0" fontAlgn="base">
        <a:lnSpc>
          <a:spcPct val="110000"/>
        </a:lnSpc>
        <a:spcBef>
          <a:spcPts val="100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defRPr sz="1600">
          <a:solidFill>
            <a:srgbClr val="000000"/>
          </a:solidFill>
          <a:latin typeface="+mn-lt"/>
          <a:cs typeface="+mn-cs"/>
        </a:defRPr>
      </a:lvl8pPr>
      <a:lvl9pPr marL="3886200" indent="-228600" algn="l" defTabSz="449263" rtl="0" fontAlgn="base">
        <a:lnSpc>
          <a:spcPct val="110000"/>
        </a:lnSpc>
        <a:spcBef>
          <a:spcPts val="100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defRPr sz="1600">
          <a:solidFill>
            <a:srgbClr val="000000"/>
          </a:solidFill>
          <a:latin typeface="+mn-lt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2" descr="cover"/>
          <p:cNvPicPr>
            <a:picLocks noChangeAspect="1" noChangeArrowheads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1" name="Picture 2" descr="PowerServer A - L:Jobs A - L:EnBW:Realisierung:112.1_PPT_Allgemein:PPT_stufe_3:"/>
          <p:cNvPicPr>
            <a:picLocks noChangeAspect="1" noChangeArrowheads="1"/>
          </p:cNvPicPr>
          <p:nvPr userDrawn="1"/>
        </p:nvPicPr>
        <p:blipFill>
          <a:blip r:embed="rId15" r:link="rId16" cstate="print">
            <a:lum bright="6000" contrast="30000"/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3284538"/>
            <a:ext cx="8440738" cy="3575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52" name="Rectangle 5"/>
          <p:cNvSpPr>
            <a:spLocks noChangeArrowheads="1"/>
          </p:cNvSpPr>
          <p:nvPr userDrawn="1"/>
        </p:nvSpPr>
        <p:spPr bwMode="auto">
          <a:xfrm>
            <a:off x="7361238" y="2735263"/>
            <a:ext cx="1795462" cy="4122737"/>
          </a:xfrm>
          <a:prstGeom prst="rect">
            <a:avLst/>
          </a:prstGeom>
          <a:solidFill>
            <a:srgbClr val="E6E6E6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 defTabSz="914400" eaLnBrk="0" hangingPunct="0">
              <a:lnSpc>
                <a:spcPct val="110000"/>
              </a:lnSpc>
              <a:spcBef>
                <a:spcPct val="50000"/>
              </a:spcBef>
            </a:pPr>
            <a:endParaRPr lang="de-DE" sz="1000">
              <a:solidFill>
                <a:srgbClr val="000099"/>
              </a:solidFill>
              <a:latin typeface="DIN-Regular" pitchFamily="34" charset="0"/>
            </a:endParaRPr>
          </a:p>
        </p:txBody>
      </p:sp>
      <p:pic>
        <p:nvPicPr>
          <p:cNvPr id="2053" name="Picture 6" descr="PowerServer A - L:Jobs A - L:EnBW:Realisierung:115_4_2 PPT/internet_HV :115_4_2_ppt_titel_folien_HV:"/>
          <p:cNvPicPr>
            <a:picLocks noChangeAspect="1" noChangeArrowheads="1"/>
          </p:cNvPicPr>
          <p:nvPr userDrawn="1"/>
        </p:nvPicPr>
        <p:blipFill>
          <a:blip r:embed="rId17" r:link="rId1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884988" y="5654675"/>
            <a:ext cx="1647825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 Box 10"/>
          <p:cNvSpPr txBox="1">
            <a:spLocks noChangeArrowheads="1"/>
          </p:cNvSpPr>
          <p:nvPr userDrawn="1"/>
        </p:nvSpPr>
        <p:spPr bwMode="auto">
          <a:xfrm>
            <a:off x="7627938" y="6173788"/>
            <a:ext cx="1597025" cy="4683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defTabSz="914400" eaLnBrk="0" hangingPunct="0">
              <a:spcBef>
                <a:spcPct val="50000"/>
              </a:spcBef>
              <a:defRPr/>
            </a:pPr>
            <a:r>
              <a:rPr lang="de-DE" sz="1200" spc="-40" dirty="0">
                <a:solidFill>
                  <a:srgbClr val="686868"/>
                </a:solidFill>
                <a:latin typeface="DIN-Medium" pitchFamily="34" charset="0"/>
                <a:ea typeface="+mn-ea"/>
                <a:cs typeface="+mn-cs"/>
              </a:rPr>
              <a:t>Energie </a:t>
            </a:r>
            <a:br>
              <a:rPr lang="de-DE" sz="1200" spc="-40" dirty="0">
                <a:solidFill>
                  <a:srgbClr val="686868"/>
                </a:solidFill>
                <a:latin typeface="DIN-Medium" pitchFamily="34" charset="0"/>
                <a:ea typeface="+mn-ea"/>
                <a:cs typeface="+mn-cs"/>
              </a:rPr>
            </a:br>
            <a:r>
              <a:rPr lang="de-DE" sz="1200" spc="-40" dirty="0">
                <a:solidFill>
                  <a:srgbClr val="686868"/>
                </a:solidFill>
                <a:latin typeface="DIN-Medium" pitchFamily="34" charset="0"/>
                <a:ea typeface="+mn-ea"/>
                <a:cs typeface="+mn-cs"/>
              </a:rPr>
              <a:t>braucht Impulse</a:t>
            </a:r>
          </a:p>
        </p:txBody>
      </p:sp>
      <p:sp>
        <p:nvSpPr>
          <p:cNvPr id="2055" name="Rectangle 27"/>
          <p:cNvSpPr>
            <a:spLocks noGrp="1" noChangeAspect="1" noChangeArrowheads="1"/>
          </p:cNvSpPr>
          <p:nvPr>
            <p:ph type="title"/>
          </p:nvPr>
        </p:nvSpPr>
        <p:spPr bwMode="auto">
          <a:xfrm>
            <a:off x="663575" y="539750"/>
            <a:ext cx="5980113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de-DE" smtClean="0"/>
              <a:t>Mastertitelformat bearbeiten</a:t>
            </a:r>
          </a:p>
        </p:txBody>
      </p:sp>
      <p:sp>
        <p:nvSpPr>
          <p:cNvPr id="2056" name="Rectangle 28"/>
          <p:cNvSpPr>
            <a:spLocks noGrp="1" noChangeAspect="1" noChangeArrowheads="1"/>
          </p:cNvSpPr>
          <p:nvPr>
            <p:ph type="body" idx="1"/>
          </p:nvPr>
        </p:nvSpPr>
        <p:spPr bwMode="auto">
          <a:xfrm>
            <a:off x="663575" y="1600200"/>
            <a:ext cx="5981700" cy="2046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66" r:id="rId1"/>
    <p:sldLayoutId id="2147483867" r:id="rId2"/>
    <p:sldLayoutId id="2147483868" r:id="rId3"/>
    <p:sldLayoutId id="2147483869" r:id="rId4"/>
    <p:sldLayoutId id="2147483870" r:id="rId5"/>
    <p:sldLayoutId id="2147483871" r:id="rId6"/>
    <p:sldLayoutId id="2147483872" r:id="rId7"/>
    <p:sldLayoutId id="2147483873" r:id="rId8"/>
    <p:sldLayoutId id="2147483874" r:id="rId9"/>
    <p:sldLayoutId id="2147483875" r:id="rId10"/>
    <p:sldLayoutId id="2147483876" r:id="rId11"/>
    <p:sldLayoutId id="2147483877" r:id="rId12"/>
  </p:sldLayoutIdLst>
  <p:txStyles>
    <p:titleStyle>
      <a:lvl1pPr algn="l" defTabSz="449263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defRPr sz="2000">
          <a:solidFill>
            <a:srgbClr val="000099"/>
          </a:solidFill>
          <a:latin typeface="+mj-lt"/>
          <a:ea typeface="Lucida Sans Unicode" pitchFamily="34" charset="0"/>
          <a:cs typeface="+mj-cs"/>
        </a:defRPr>
      </a:lvl1pPr>
      <a:lvl2pPr algn="l" defTabSz="449263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defRPr sz="2000">
          <a:solidFill>
            <a:srgbClr val="000099"/>
          </a:solidFill>
          <a:latin typeface="DIN-Medium" pitchFamily="34" charset="0"/>
          <a:ea typeface="Lucida Sans Unicode" pitchFamily="34" charset="0"/>
          <a:cs typeface="Lucida Sans Unicode" pitchFamily="34" charset="0"/>
        </a:defRPr>
      </a:lvl2pPr>
      <a:lvl3pPr algn="l" defTabSz="449263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defRPr sz="2000">
          <a:solidFill>
            <a:srgbClr val="000099"/>
          </a:solidFill>
          <a:latin typeface="DIN-Medium" pitchFamily="34" charset="0"/>
          <a:ea typeface="Lucida Sans Unicode" pitchFamily="34" charset="0"/>
          <a:cs typeface="Lucida Sans Unicode" pitchFamily="34" charset="0"/>
        </a:defRPr>
      </a:lvl3pPr>
      <a:lvl4pPr algn="l" defTabSz="449263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defRPr sz="2000">
          <a:solidFill>
            <a:srgbClr val="000099"/>
          </a:solidFill>
          <a:latin typeface="DIN-Medium" pitchFamily="34" charset="0"/>
          <a:ea typeface="Lucida Sans Unicode" pitchFamily="34" charset="0"/>
          <a:cs typeface="Lucida Sans Unicode" pitchFamily="34" charset="0"/>
        </a:defRPr>
      </a:lvl4pPr>
      <a:lvl5pPr algn="l" defTabSz="449263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defRPr sz="2000">
          <a:solidFill>
            <a:srgbClr val="000099"/>
          </a:solidFill>
          <a:latin typeface="DIN-Medium" pitchFamily="34" charset="0"/>
          <a:ea typeface="Lucida Sans Unicode" pitchFamily="34" charset="0"/>
          <a:cs typeface="Lucida Sans Unicode" pitchFamily="34" charset="0"/>
        </a:defRPr>
      </a:lvl5pPr>
      <a:lvl6pPr marL="2514600" indent="-228600" algn="l" defTabSz="449263" rtl="0" fontAlgn="base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defRPr sz="2000">
          <a:solidFill>
            <a:srgbClr val="000099"/>
          </a:solidFill>
          <a:latin typeface="DIN-Medium" pitchFamily="34" charset="0"/>
          <a:cs typeface="Lucida Sans Unicode" pitchFamily="34" charset="0"/>
        </a:defRPr>
      </a:lvl6pPr>
      <a:lvl7pPr marL="2971800" indent="-228600" algn="l" defTabSz="449263" rtl="0" fontAlgn="base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defRPr sz="2000">
          <a:solidFill>
            <a:srgbClr val="000099"/>
          </a:solidFill>
          <a:latin typeface="DIN-Medium" pitchFamily="34" charset="0"/>
          <a:cs typeface="Lucida Sans Unicode" pitchFamily="34" charset="0"/>
        </a:defRPr>
      </a:lvl7pPr>
      <a:lvl8pPr marL="3429000" indent="-228600" algn="l" defTabSz="449263" rtl="0" fontAlgn="base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defRPr sz="2000">
          <a:solidFill>
            <a:srgbClr val="000099"/>
          </a:solidFill>
          <a:latin typeface="DIN-Medium" pitchFamily="34" charset="0"/>
          <a:cs typeface="Lucida Sans Unicode" pitchFamily="34" charset="0"/>
        </a:defRPr>
      </a:lvl8pPr>
      <a:lvl9pPr marL="3886200" indent="-228600" algn="l" defTabSz="449263" rtl="0" fontAlgn="base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defRPr sz="2000">
          <a:solidFill>
            <a:srgbClr val="000099"/>
          </a:solidFill>
          <a:latin typeface="DIN-Medium" pitchFamily="34" charset="0"/>
          <a:cs typeface="Lucida Sans Unicode" pitchFamily="34" charset="0"/>
        </a:defRPr>
      </a:lvl9pPr>
    </p:titleStyle>
    <p:bodyStyle>
      <a:lvl1pPr marL="342900" indent="-342900" algn="l" defTabSz="449263" rtl="0" eaLnBrk="0" fontAlgn="base" hangingPunct="0">
        <a:lnSpc>
          <a:spcPct val="110000"/>
        </a:lnSpc>
        <a:spcBef>
          <a:spcPts val="100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defRPr sz="1600">
          <a:solidFill>
            <a:srgbClr val="000000"/>
          </a:solidFill>
          <a:latin typeface="+mn-lt"/>
          <a:ea typeface="Lucida Sans Unicode" pitchFamily="34" charset="0"/>
          <a:cs typeface="+mn-cs"/>
        </a:defRPr>
      </a:lvl1pPr>
      <a:lvl2pPr marL="742950" indent="-285750" algn="l" defTabSz="449263" rtl="0" eaLnBrk="0" fontAlgn="base" hangingPunct="0">
        <a:lnSpc>
          <a:spcPct val="110000"/>
        </a:lnSpc>
        <a:spcBef>
          <a:spcPts val="100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defRPr sz="1600">
          <a:solidFill>
            <a:srgbClr val="000000"/>
          </a:solidFill>
          <a:latin typeface="+mn-lt"/>
          <a:ea typeface="Lucida Sans Unicode" pitchFamily="34" charset="0"/>
          <a:cs typeface="+mn-cs"/>
        </a:defRPr>
      </a:lvl2pPr>
      <a:lvl3pPr marL="1143000" indent="-228600" algn="l" defTabSz="449263" rtl="0" eaLnBrk="0" fontAlgn="base" hangingPunct="0">
        <a:lnSpc>
          <a:spcPct val="110000"/>
        </a:lnSpc>
        <a:spcBef>
          <a:spcPts val="100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defRPr sz="1600">
          <a:solidFill>
            <a:srgbClr val="000000"/>
          </a:solidFill>
          <a:latin typeface="+mn-lt"/>
          <a:ea typeface="Lucida Sans Unicode" pitchFamily="34" charset="0"/>
          <a:cs typeface="+mn-cs"/>
        </a:defRPr>
      </a:lvl3pPr>
      <a:lvl4pPr marL="1600200" indent="-228600" algn="l" defTabSz="449263" rtl="0" eaLnBrk="0" fontAlgn="base" hangingPunct="0">
        <a:lnSpc>
          <a:spcPct val="110000"/>
        </a:lnSpc>
        <a:spcBef>
          <a:spcPts val="100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defRPr sz="1600">
          <a:solidFill>
            <a:srgbClr val="000000"/>
          </a:solidFill>
          <a:latin typeface="+mn-lt"/>
          <a:ea typeface="Lucida Sans Unicode" pitchFamily="34" charset="0"/>
          <a:cs typeface="+mn-cs"/>
        </a:defRPr>
      </a:lvl4pPr>
      <a:lvl5pPr marL="2057400" indent="-228600" algn="l" defTabSz="449263" rtl="0" eaLnBrk="0" fontAlgn="base" hangingPunct="0">
        <a:lnSpc>
          <a:spcPct val="110000"/>
        </a:lnSpc>
        <a:spcBef>
          <a:spcPts val="100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defRPr sz="1600">
          <a:solidFill>
            <a:srgbClr val="000000"/>
          </a:solidFill>
          <a:latin typeface="+mn-lt"/>
          <a:ea typeface="Lucida Sans Unicode" pitchFamily="34" charset="0"/>
          <a:cs typeface="+mn-cs"/>
        </a:defRPr>
      </a:lvl5pPr>
      <a:lvl6pPr marL="2514600" indent="-228600" algn="l" defTabSz="449263" rtl="0" fontAlgn="base">
        <a:lnSpc>
          <a:spcPct val="110000"/>
        </a:lnSpc>
        <a:spcBef>
          <a:spcPts val="100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defRPr sz="1600">
          <a:solidFill>
            <a:srgbClr val="000000"/>
          </a:solidFill>
          <a:latin typeface="+mn-lt"/>
          <a:cs typeface="+mn-cs"/>
        </a:defRPr>
      </a:lvl6pPr>
      <a:lvl7pPr marL="2971800" indent="-228600" algn="l" defTabSz="449263" rtl="0" fontAlgn="base">
        <a:lnSpc>
          <a:spcPct val="110000"/>
        </a:lnSpc>
        <a:spcBef>
          <a:spcPts val="100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defRPr sz="1600">
          <a:solidFill>
            <a:srgbClr val="000000"/>
          </a:solidFill>
          <a:latin typeface="+mn-lt"/>
          <a:cs typeface="+mn-cs"/>
        </a:defRPr>
      </a:lvl7pPr>
      <a:lvl8pPr marL="3429000" indent="-228600" algn="l" defTabSz="449263" rtl="0" fontAlgn="base">
        <a:lnSpc>
          <a:spcPct val="110000"/>
        </a:lnSpc>
        <a:spcBef>
          <a:spcPts val="100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defRPr sz="1600">
          <a:solidFill>
            <a:srgbClr val="000000"/>
          </a:solidFill>
          <a:latin typeface="+mn-lt"/>
          <a:cs typeface="+mn-cs"/>
        </a:defRPr>
      </a:lvl8pPr>
      <a:lvl9pPr marL="3886200" indent="-228600" algn="l" defTabSz="449263" rtl="0" fontAlgn="base">
        <a:lnSpc>
          <a:spcPct val="110000"/>
        </a:lnSpc>
        <a:spcBef>
          <a:spcPts val="1000"/>
        </a:spcBef>
        <a:spcAft>
          <a:spcPct val="0"/>
        </a:spcAft>
        <a:buClr>
          <a:srgbClr val="000000"/>
        </a:buClr>
        <a:buSzPct val="100000"/>
        <a:buFont typeface="Times New Roman" pitchFamily="18" charset="0"/>
        <a:defRPr sz="1600">
          <a:solidFill>
            <a:srgbClr val="000000"/>
          </a:solidFill>
          <a:latin typeface="+mn-lt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4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9.jpe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notesSlide" Target="../notesSlides/notesSlide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1.vml"/><Relationship Id="rId5" Type="http://schemas.openxmlformats.org/officeDocument/2006/relationships/oleObject" Target="../embeddings/oleObject1.bin"/><Relationship Id="rId4" Type="http://schemas.openxmlformats.org/officeDocument/2006/relationships/chart" Target="../charts/chart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emf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emf"/><Relationship Id="rId7" Type="http://schemas.openxmlformats.org/officeDocument/2006/relationships/image" Target="../media/image16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5.jpeg"/><Relationship Id="rId5" Type="http://schemas.openxmlformats.org/officeDocument/2006/relationships/image" Target="../media/image14.jpeg"/><Relationship Id="rId4" Type="http://schemas.openxmlformats.org/officeDocument/2006/relationships/image" Target="../media/image13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>
            <a:alpha val="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Rectangle 1"/>
          <p:cNvSpPr>
            <a:spLocks noGrp="1" noChangeAspect="1" noChangeArrowheads="1"/>
          </p:cNvSpPr>
          <p:nvPr>
            <p:ph type="title"/>
          </p:nvPr>
        </p:nvSpPr>
        <p:spPr>
          <a:xfrm>
            <a:off x="650875" y="3573463"/>
            <a:ext cx="6713538" cy="1908215"/>
          </a:xfrm>
        </p:spPr>
        <p:txBody>
          <a:bodyPr/>
          <a:lstStyle/>
          <a:p>
            <a:pPr eaLnBrk="1" hangingPunct="1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r>
              <a:rPr lang="de-DE" sz="3200" dirty="0" smtClean="0">
                <a:solidFill>
                  <a:srgbClr val="FFCC00"/>
                </a:solidFill>
              </a:rPr>
              <a:t>Geo</a:t>
            </a:r>
            <a:r>
              <a:rPr lang="hu-HU" sz="3200" dirty="0" smtClean="0">
                <a:solidFill>
                  <a:srgbClr val="FFCC00"/>
                </a:solidFill>
              </a:rPr>
              <a:t>termikus erőmű</a:t>
            </a:r>
            <a:r>
              <a:rPr lang="de-DE" sz="3200" dirty="0" smtClean="0">
                <a:solidFill>
                  <a:srgbClr val="FFCC00"/>
                </a:solidFill>
              </a:rPr>
              <a:t> Bruchsal:</a:t>
            </a:r>
            <a:br>
              <a:rPr lang="de-DE" sz="3200" dirty="0" smtClean="0">
                <a:solidFill>
                  <a:srgbClr val="FFCC00"/>
                </a:solidFill>
              </a:rPr>
            </a:br>
            <a:r>
              <a:rPr lang="hu-HU" sz="3200" dirty="0" smtClean="0">
                <a:solidFill>
                  <a:schemeClr val="bg1"/>
                </a:solidFill>
              </a:rPr>
              <a:t>Geológia és erőmű</a:t>
            </a:r>
            <a:r>
              <a:rPr lang="de-DE" sz="3200" dirty="0" smtClean="0">
                <a:solidFill>
                  <a:srgbClr val="FFCC00"/>
                </a:solidFill>
              </a:rPr>
              <a:t/>
            </a:r>
            <a:br>
              <a:rPr lang="de-DE" sz="3200" dirty="0" smtClean="0">
                <a:solidFill>
                  <a:srgbClr val="FFCC00"/>
                </a:solidFill>
              </a:rPr>
            </a:br>
            <a:r>
              <a:rPr lang="de-DE" dirty="0" smtClean="0">
                <a:solidFill>
                  <a:schemeClr val="bg1"/>
                </a:solidFill>
              </a:rPr>
              <a:t/>
            </a:r>
            <a:br>
              <a:rPr lang="de-DE" dirty="0" smtClean="0">
                <a:solidFill>
                  <a:schemeClr val="bg1"/>
                </a:solidFill>
              </a:rPr>
            </a:br>
            <a:r>
              <a:rPr lang="de-DE" dirty="0" smtClean="0">
                <a:solidFill>
                  <a:schemeClr val="bg1"/>
                </a:solidFill>
              </a:rPr>
              <a:t/>
            </a:r>
            <a:br>
              <a:rPr lang="de-DE" dirty="0" smtClean="0">
                <a:solidFill>
                  <a:schemeClr val="bg1"/>
                </a:solidFill>
              </a:rPr>
            </a:br>
            <a:endParaRPr lang="de-DE" dirty="0" smtClean="0">
              <a:solidFill>
                <a:schemeClr val="bg1"/>
              </a:solidFill>
            </a:endParaRPr>
          </a:p>
        </p:txBody>
      </p:sp>
      <p:sp>
        <p:nvSpPr>
          <p:cNvPr id="15363" name="Rectangle 2"/>
          <p:cNvSpPr>
            <a:spLocks noGrp="1" noChangeAspect="1" noChangeArrowheads="1"/>
          </p:cNvSpPr>
          <p:nvPr>
            <p:ph type="subTitle" idx="4294967295"/>
          </p:nvPr>
        </p:nvSpPr>
        <p:spPr>
          <a:xfrm>
            <a:off x="682625" y="5622925"/>
            <a:ext cx="4897438" cy="1046163"/>
          </a:xfrm>
        </p:spPr>
        <p:txBody>
          <a:bodyPr/>
          <a:lstStyle/>
          <a:p>
            <a:pPr marL="0" indent="0" eaLnBrk="1" hangingPunct="1">
              <a:spcBef>
                <a:spcPts val="438"/>
              </a:spcBef>
              <a:tabLst>
                <a:tab pos="34290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r>
              <a:rPr lang="hu-HU" sz="1400" dirty="0" smtClean="0">
                <a:solidFill>
                  <a:srgbClr val="FFFFFF"/>
                </a:solidFill>
              </a:rPr>
              <a:t>Kutatás és</a:t>
            </a:r>
            <a:r>
              <a:rPr lang="de-DE" sz="1400" dirty="0" smtClean="0">
                <a:solidFill>
                  <a:srgbClr val="FFFFFF"/>
                </a:solidFill>
              </a:rPr>
              <a:t> </a:t>
            </a:r>
            <a:r>
              <a:rPr lang="hu-HU" sz="1400" dirty="0" smtClean="0">
                <a:solidFill>
                  <a:srgbClr val="FFFFFF"/>
                </a:solidFill>
              </a:rPr>
              <a:t>innováció</a:t>
            </a:r>
            <a:endParaRPr lang="de-DE" sz="1400" dirty="0" smtClean="0">
              <a:solidFill>
                <a:srgbClr val="FFFFFF"/>
              </a:solidFill>
            </a:endParaRPr>
          </a:p>
          <a:p>
            <a:pPr marL="0" indent="0" eaLnBrk="1" hangingPunct="1">
              <a:spcBef>
                <a:spcPts val="438"/>
              </a:spcBef>
              <a:tabLst>
                <a:tab pos="34290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r>
              <a:rPr lang="de-DE" sz="1400" dirty="0" smtClean="0">
                <a:solidFill>
                  <a:srgbClr val="FFFFFF"/>
                </a:solidFill>
              </a:rPr>
              <a:t>EnBW </a:t>
            </a:r>
            <a:r>
              <a:rPr lang="hu-HU" sz="1400" dirty="0" smtClean="0">
                <a:solidFill>
                  <a:srgbClr val="FFFFFF"/>
                </a:solidFill>
              </a:rPr>
              <a:t>Energia</a:t>
            </a:r>
            <a:r>
              <a:rPr lang="de-DE" sz="1400" dirty="0" smtClean="0">
                <a:solidFill>
                  <a:srgbClr val="FFFFFF"/>
                </a:solidFill>
              </a:rPr>
              <a:t> Baden-Württemberg </a:t>
            </a:r>
            <a:r>
              <a:rPr lang="hu-HU" sz="1400" dirty="0" smtClean="0">
                <a:solidFill>
                  <a:srgbClr val="FFFFFF"/>
                </a:solidFill>
              </a:rPr>
              <a:t>Rt.</a:t>
            </a:r>
            <a:endParaRPr lang="de-DE" sz="1400" dirty="0" smtClean="0">
              <a:solidFill>
                <a:srgbClr val="FFFFFF"/>
              </a:solidFill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5" name="Text Box 3"/>
          <p:cNvSpPr txBox="1">
            <a:spLocks noChangeArrowheads="1"/>
          </p:cNvSpPr>
          <p:nvPr/>
        </p:nvSpPr>
        <p:spPr bwMode="auto">
          <a:xfrm>
            <a:off x="5630863" y="6629425"/>
            <a:ext cx="2016125" cy="200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46800">
            <a:spAutoFit/>
          </a:bodyPr>
          <a:lstStyle>
            <a:lvl1pPr>
              <a:defRPr sz="1400">
                <a:solidFill>
                  <a:srgbClr val="000099"/>
                </a:solidFill>
                <a:latin typeface="DIN-Regular" pitchFamily="34" charset="0"/>
              </a:defRPr>
            </a:lvl1pPr>
            <a:lvl2pPr marL="742950" indent="-285750">
              <a:defRPr sz="1400">
                <a:solidFill>
                  <a:srgbClr val="000099"/>
                </a:solidFill>
                <a:latin typeface="DIN-Regular" pitchFamily="34" charset="0"/>
              </a:defRPr>
            </a:lvl2pPr>
            <a:lvl3pPr marL="1143000" indent="-228600">
              <a:defRPr sz="1400">
                <a:solidFill>
                  <a:srgbClr val="000099"/>
                </a:solidFill>
                <a:latin typeface="DIN-Regular" pitchFamily="34" charset="0"/>
              </a:defRPr>
            </a:lvl3pPr>
            <a:lvl4pPr marL="1600200" indent="-228600">
              <a:defRPr sz="1400">
                <a:solidFill>
                  <a:srgbClr val="000099"/>
                </a:solidFill>
                <a:latin typeface="DIN-Regular" pitchFamily="34" charset="0"/>
              </a:defRPr>
            </a:lvl4pPr>
            <a:lvl5pPr marL="2057400" indent="-228600">
              <a:defRPr sz="1400">
                <a:solidFill>
                  <a:srgbClr val="000099"/>
                </a:solidFill>
                <a:latin typeface="DIN-Regular" pitchFamily="34" charset="0"/>
              </a:defRPr>
            </a:lvl5pPr>
            <a:lvl6pPr marL="25146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1400">
                <a:solidFill>
                  <a:srgbClr val="000099"/>
                </a:solidFill>
                <a:latin typeface="DIN-Regular" pitchFamily="34" charset="0"/>
              </a:defRPr>
            </a:lvl6pPr>
            <a:lvl7pPr marL="29718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1400">
                <a:solidFill>
                  <a:srgbClr val="000099"/>
                </a:solidFill>
                <a:latin typeface="DIN-Regular" pitchFamily="34" charset="0"/>
              </a:defRPr>
            </a:lvl7pPr>
            <a:lvl8pPr marL="34290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1400">
                <a:solidFill>
                  <a:srgbClr val="000099"/>
                </a:solidFill>
                <a:latin typeface="DIN-Regular" pitchFamily="34" charset="0"/>
              </a:defRPr>
            </a:lvl8pPr>
            <a:lvl9pPr marL="38862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1400">
                <a:solidFill>
                  <a:srgbClr val="000099"/>
                </a:solidFill>
                <a:latin typeface="DIN-Regular" pitchFamily="34" charset="0"/>
              </a:defRPr>
            </a:lvl9pPr>
          </a:lstStyle>
          <a:p>
            <a:pPr algn="r">
              <a:lnSpc>
                <a:spcPct val="100000"/>
              </a:lnSpc>
              <a:spcBef>
                <a:spcPct val="0"/>
              </a:spcBef>
            </a:pPr>
            <a:r>
              <a:rPr lang="en-GB" sz="1000">
                <a:solidFill>
                  <a:srgbClr val="979797"/>
                </a:solidFill>
              </a:rPr>
              <a:t>Ref.: Google Maps 2011</a:t>
            </a:r>
          </a:p>
        </p:txBody>
      </p:sp>
      <p:sp>
        <p:nvSpPr>
          <p:cNvPr id="10" name="Foliennummernplatzhalter 1"/>
          <p:cNvSpPr txBox="1">
            <a:spLocks noGrp="1"/>
          </p:cNvSpPr>
          <p:nvPr/>
        </p:nvSpPr>
        <p:spPr bwMode="auto">
          <a:xfrm>
            <a:off x="358775" y="6477000"/>
            <a:ext cx="360363" cy="252413"/>
          </a:xfrm>
          <a:prstGeom prst="rect">
            <a:avLst/>
          </a:prstGeom>
          <a:noFill/>
          <a:extLst/>
        </p:spPr>
        <p:txBody>
          <a:bodyPr lIns="0" tIns="0" rIns="0" bIns="0"/>
          <a:lstStyle/>
          <a:p>
            <a:pPr>
              <a:lnSpc>
                <a:spcPct val="100000"/>
              </a:lnSpc>
              <a:spcBef>
                <a:spcPct val="0"/>
              </a:spcBef>
              <a:defRPr/>
            </a:pPr>
            <a:fld id="{A03454D1-A439-4B73-AE92-C2A00DA60E4A}" type="slidenum">
              <a:rPr lang="de-DE" sz="1200">
                <a:solidFill>
                  <a:srgbClr val="999999"/>
                </a:solidFill>
                <a:latin typeface="+mn-lt"/>
              </a:rPr>
              <a:pPr>
                <a:lnSpc>
                  <a:spcPct val="100000"/>
                </a:lnSpc>
                <a:spcBef>
                  <a:spcPct val="0"/>
                </a:spcBef>
                <a:defRPr/>
              </a:pPr>
              <a:t>10</a:t>
            </a:fld>
            <a:r>
              <a:rPr lang="de-DE" sz="1200">
                <a:solidFill>
                  <a:srgbClr val="999999"/>
                </a:solidFill>
                <a:latin typeface="+mn-lt"/>
              </a:rPr>
              <a:t> </a:t>
            </a:r>
            <a:endParaRPr lang="de-DE">
              <a:solidFill>
                <a:srgbClr val="B3B3B3"/>
              </a:solidFill>
              <a:latin typeface="Times" pitchFamily="18" charset="0"/>
            </a:endParaRPr>
          </a:p>
        </p:txBody>
      </p:sp>
      <p:sp>
        <p:nvSpPr>
          <p:cNvPr id="2051" name="Foliennummernplatzhalter 5"/>
          <p:cNvSpPr txBox="1">
            <a:spLocks noGrp="1"/>
          </p:cNvSpPr>
          <p:nvPr/>
        </p:nvSpPr>
        <p:spPr bwMode="auto">
          <a:xfrm>
            <a:off x="358775" y="6477000"/>
            <a:ext cx="360363" cy="252413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lIns="0" tIns="0" rIns="0" bIns="0"/>
          <a:lstStyle/>
          <a:p>
            <a:pPr>
              <a:lnSpc>
                <a:spcPct val="100000"/>
              </a:lnSpc>
              <a:spcBef>
                <a:spcPct val="0"/>
              </a:spcBef>
              <a:defRPr/>
            </a:pPr>
            <a:fld id="{6B90FB55-7FC4-477F-B4C4-246CBFA7E5A5}" type="slidenum">
              <a:rPr lang="de-DE" sz="1200">
                <a:solidFill>
                  <a:srgbClr val="999999"/>
                </a:solidFill>
                <a:latin typeface="+mn-lt"/>
              </a:rPr>
              <a:pPr>
                <a:lnSpc>
                  <a:spcPct val="100000"/>
                </a:lnSpc>
                <a:spcBef>
                  <a:spcPct val="0"/>
                </a:spcBef>
                <a:defRPr/>
              </a:pPr>
              <a:t>10</a:t>
            </a:fld>
            <a:r>
              <a:rPr lang="de-DE" sz="1200">
                <a:solidFill>
                  <a:srgbClr val="999999"/>
                </a:solidFill>
                <a:latin typeface="+mn-lt"/>
              </a:rPr>
              <a:t> </a:t>
            </a:r>
          </a:p>
        </p:txBody>
      </p:sp>
      <p:grpSp>
        <p:nvGrpSpPr>
          <p:cNvPr id="23558" name="Group 12"/>
          <p:cNvGrpSpPr>
            <a:grpSpLocks/>
          </p:cNvGrpSpPr>
          <p:nvPr/>
        </p:nvGrpSpPr>
        <p:grpSpPr bwMode="auto">
          <a:xfrm>
            <a:off x="561975" y="1628800"/>
            <a:ext cx="7034213" cy="4987925"/>
            <a:chOff x="354" y="809"/>
            <a:chExt cx="4431" cy="3142"/>
          </a:xfrm>
        </p:grpSpPr>
        <p:pic>
          <p:nvPicPr>
            <p:cNvPr id="23585" name="Picture 4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54" y="809"/>
              <a:ext cx="4431" cy="31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3586" name="Rectangle 6"/>
            <p:cNvSpPr>
              <a:spLocks noChangeArrowheads="1"/>
            </p:cNvSpPr>
            <p:nvPr/>
          </p:nvSpPr>
          <p:spPr bwMode="auto">
            <a:xfrm>
              <a:off x="2553" y="1991"/>
              <a:ext cx="896" cy="25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12700" cap="sq">
                  <a:solidFill>
                    <a:srgbClr val="000000"/>
                  </a:solidFill>
                  <a:miter lim="800000"/>
                  <a:headEnd type="none" w="sm" len="sm"/>
                  <a:tailEnd type="none" w="sm" len="sm"/>
                </a14:hiddenLine>
              </a:ext>
            </a:extLst>
          </p:spPr>
          <p:txBody>
            <a:bodyPr>
              <a:spAutoFit/>
            </a:bodyPr>
            <a:lstStyle/>
            <a:p>
              <a:pPr algn="ctr"/>
              <a:r>
                <a:rPr lang="de-DE" sz="2000">
                  <a:latin typeface="DIN-Medium" pitchFamily="34" charset="0"/>
                </a:rPr>
                <a:t>Injection</a:t>
              </a:r>
            </a:p>
          </p:txBody>
        </p:sp>
        <p:sp>
          <p:nvSpPr>
            <p:cNvPr id="23587" name="Rectangle 8"/>
            <p:cNvSpPr>
              <a:spLocks noChangeArrowheads="1"/>
            </p:cNvSpPr>
            <p:nvPr/>
          </p:nvSpPr>
          <p:spPr bwMode="auto">
            <a:xfrm>
              <a:off x="1236" y="3114"/>
              <a:ext cx="1088" cy="48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12700" cap="sq">
                  <a:solidFill>
                    <a:srgbClr val="000000"/>
                  </a:solidFill>
                  <a:miter lim="800000"/>
                  <a:headEnd type="none" w="sm" len="sm"/>
                  <a:tailEnd type="none" w="sm" len="sm"/>
                </a14:hiddenLine>
              </a:ext>
            </a:extLst>
          </p:spPr>
          <p:txBody>
            <a:bodyPr>
              <a:spAutoFit/>
            </a:bodyPr>
            <a:lstStyle/>
            <a:p>
              <a:pPr algn="ctr"/>
              <a:r>
                <a:rPr lang="de-DE" sz="2000">
                  <a:latin typeface="DIN-Medium" pitchFamily="34" charset="0"/>
                </a:rPr>
                <a:t>Production&amp; Power Plant</a:t>
              </a:r>
            </a:p>
          </p:txBody>
        </p:sp>
        <p:sp>
          <p:nvSpPr>
            <p:cNvPr id="23588" name="Oval 12"/>
            <p:cNvSpPr>
              <a:spLocks noChangeArrowheads="1"/>
            </p:cNvSpPr>
            <p:nvPr/>
          </p:nvSpPr>
          <p:spPr bwMode="auto">
            <a:xfrm>
              <a:off x="3362" y="2187"/>
              <a:ext cx="227" cy="227"/>
            </a:xfrm>
            <a:prstGeom prst="ellipse">
              <a:avLst/>
            </a:prstGeom>
            <a:solidFill>
              <a:srgbClr val="EE77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en-US">
                <a:latin typeface="DIN-Light" pitchFamily="34" charset="0"/>
              </a:endParaRPr>
            </a:p>
          </p:txBody>
        </p:sp>
        <p:sp>
          <p:nvSpPr>
            <p:cNvPr id="23589" name="Oval 12"/>
            <p:cNvSpPr>
              <a:spLocks noChangeArrowheads="1"/>
            </p:cNvSpPr>
            <p:nvPr/>
          </p:nvSpPr>
          <p:spPr bwMode="auto">
            <a:xfrm>
              <a:off x="2144" y="3493"/>
              <a:ext cx="227" cy="227"/>
            </a:xfrm>
            <a:prstGeom prst="ellipse">
              <a:avLst/>
            </a:prstGeom>
            <a:solidFill>
              <a:srgbClr val="EE77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en-US">
                <a:latin typeface="DIN-Light" pitchFamily="34" charset="0"/>
              </a:endParaRPr>
            </a:p>
          </p:txBody>
        </p:sp>
        <p:sp>
          <p:nvSpPr>
            <p:cNvPr id="23590" name="Rectangle 8"/>
            <p:cNvSpPr>
              <a:spLocks noChangeArrowheads="1"/>
            </p:cNvSpPr>
            <p:nvPr/>
          </p:nvSpPr>
          <p:spPr bwMode="auto">
            <a:xfrm rot="-2857515">
              <a:off x="2886" y="2769"/>
              <a:ext cx="809" cy="27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12700" cap="sq">
                  <a:solidFill>
                    <a:srgbClr val="000000"/>
                  </a:solidFill>
                  <a:miter lim="800000"/>
                  <a:headEnd type="none" w="sm" len="sm"/>
                  <a:tailEnd type="none" w="sm" len="sm"/>
                </a14:hiddenLine>
              </a:ext>
            </a:extLst>
          </p:spPr>
          <p:txBody>
            <a:bodyPr>
              <a:spAutoFit/>
            </a:bodyPr>
            <a:lstStyle/>
            <a:p>
              <a:pPr algn="ctr"/>
              <a:r>
                <a:rPr lang="de-DE" sz="2000">
                  <a:latin typeface="DIN-Medium" pitchFamily="34" charset="0"/>
                </a:rPr>
                <a:t>1,5 km</a:t>
              </a:r>
            </a:p>
          </p:txBody>
        </p:sp>
      </p:grpSp>
      <p:sp>
        <p:nvSpPr>
          <p:cNvPr id="23559" name="Rectangle 3"/>
          <p:cNvSpPr>
            <a:spLocks noChangeAspect="1" noChangeArrowheads="1"/>
          </p:cNvSpPr>
          <p:nvPr/>
        </p:nvSpPr>
        <p:spPr bwMode="auto">
          <a:xfrm>
            <a:off x="528638" y="482600"/>
            <a:ext cx="6478587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>
              <a:lnSpc>
                <a:spcPct val="100000"/>
              </a:lnSpc>
              <a:spcBef>
                <a:spcPct val="0"/>
              </a:spcBef>
            </a:pPr>
            <a:r>
              <a:rPr lang="de-DE" sz="2000">
                <a:latin typeface="DIN-Medium" pitchFamily="34" charset="0"/>
              </a:rPr>
              <a:t>Site Map Power Plant Bruchsal</a:t>
            </a:r>
          </a:p>
        </p:txBody>
      </p:sp>
      <p:cxnSp>
        <p:nvCxnSpPr>
          <p:cNvPr id="23560" name="Gerade Verbindung mit Pfeil 12"/>
          <p:cNvCxnSpPr>
            <a:cxnSpLocks noChangeShapeType="1"/>
          </p:cNvCxnSpPr>
          <p:nvPr/>
        </p:nvCxnSpPr>
        <p:spPr bwMode="auto">
          <a:xfrm flipH="1">
            <a:off x="3975100" y="4002112"/>
            <a:ext cx="1947863" cy="2098675"/>
          </a:xfrm>
          <a:prstGeom prst="straightConnector1">
            <a:avLst/>
          </a:prstGeom>
          <a:noFill/>
          <a:ln w="28575" algn="ctr">
            <a:solidFill>
              <a:srgbClr val="EE7700"/>
            </a:solidFill>
            <a:round/>
            <a:headEnd type="arrow" w="med" len="med"/>
            <a:tailEnd type="arrow" w="med" len="med"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</p:cxnSp>
      <p:grpSp>
        <p:nvGrpSpPr>
          <p:cNvPr id="23561" name="Gruppieren 20"/>
          <p:cNvGrpSpPr>
            <a:grpSpLocks/>
          </p:cNvGrpSpPr>
          <p:nvPr/>
        </p:nvGrpSpPr>
        <p:grpSpPr bwMode="auto">
          <a:xfrm>
            <a:off x="571500" y="1736750"/>
            <a:ext cx="8012113" cy="4856162"/>
            <a:chOff x="333955" y="1534602"/>
            <a:chExt cx="8011576" cy="4856400"/>
          </a:xfrm>
        </p:grpSpPr>
        <p:pic>
          <p:nvPicPr>
            <p:cNvPr id="23580" name="Picture 12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33955" y="1534602"/>
              <a:ext cx="8011576" cy="48564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3581" name="Ellipse 15"/>
            <p:cNvSpPr>
              <a:spLocks noChangeArrowheads="1"/>
            </p:cNvSpPr>
            <p:nvPr/>
          </p:nvSpPr>
          <p:spPr bwMode="auto">
            <a:xfrm>
              <a:off x="1669774" y="5208105"/>
              <a:ext cx="659958" cy="659958"/>
            </a:xfrm>
            <a:prstGeom prst="ellipse">
              <a:avLst/>
            </a:prstGeom>
            <a:noFill/>
            <a:ln w="28575" algn="ctr">
              <a:solidFill>
                <a:srgbClr val="F9C66D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 lIns="36000" tIns="0" bIns="0" anchor="b">
              <a:spAutoFit/>
            </a:bodyPr>
            <a:lstStyle/>
            <a:p>
              <a:endParaRPr lang="en-US"/>
            </a:p>
          </p:txBody>
        </p:sp>
        <p:sp>
          <p:nvSpPr>
            <p:cNvPr id="23582" name="Ellipse 16"/>
            <p:cNvSpPr>
              <a:spLocks noChangeArrowheads="1"/>
            </p:cNvSpPr>
            <p:nvPr/>
          </p:nvSpPr>
          <p:spPr bwMode="auto">
            <a:xfrm>
              <a:off x="5940949" y="1790370"/>
              <a:ext cx="659958" cy="659958"/>
            </a:xfrm>
            <a:prstGeom prst="ellipse">
              <a:avLst/>
            </a:prstGeom>
            <a:noFill/>
            <a:ln w="28575" algn="ctr">
              <a:solidFill>
                <a:srgbClr val="F9C66D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 lIns="36000" tIns="0" bIns="0" anchor="b">
              <a:spAutoFit/>
            </a:bodyPr>
            <a:lstStyle/>
            <a:p>
              <a:endParaRPr lang="en-US"/>
            </a:p>
          </p:txBody>
        </p:sp>
        <p:cxnSp>
          <p:nvCxnSpPr>
            <p:cNvPr id="23583" name="Gerade Verbindung mit Pfeil 18"/>
            <p:cNvCxnSpPr>
              <a:cxnSpLocks noChangeShapeType="1"/>
              <a:stCxn id="23581" idx="7"/>
              <a:endCxn id="23582" idx="3"/>
            </p:cNvCxnSpPr>
            <p:nvPr/>
          </p:nvCxnSpPr>
          <p:spPr bwMode="auto">
            <a:xfrm flipV="1">
              <a:off x="2233083" y="2353679"/>
              <a:ext cx="3804515" cy="2951075"/>
            </a:xfrm>
            <a:prstGeom prst="straightConnector1">
              <a:avLst/>
            </a:prstGeom>
            <a:noFill/>
            <a:ln w="28575" algn="ctr">
              <a:solidFill>
                <a:srgbClr val="F9C66D"/>
              </a:solidFill>
              <a:round/>
              <a:headEnd type="arrow" w="med" len="med"/>
              <a:tailEnd type="arrow" w="med" len="med"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sp>
          <p:nvSpPr>
            <p:cNvPr id="23584" name="Textfeld 19"/>
            <p:cNvSpPr txBox="1">
              <a:spLocks noChangeArrowheads="1"/>
            </p:cNvSpPr>
            <p:nvPr/>
          </p:nvSpPr>
          <p:spPr bwMode="auto">
            <a:xfrm rot="-2298211">
              <a:off x="4484536" y="3223122"/>
              <a:ext cx="870751" cy="3970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 sz="1400">
                  <a:solidFill>
                    <a:srgbClr val="000099"/>
                  </a:solidFill>
                  <a:latin typeface="DIN-Regular" pitchFamily="34" charset="0"/>
                </a:defRPr>
              </a:lvl1pPr>
              <a:lvl2pPr marL="742950" indent="-285750">
                <a:defRPr sz="1400">
                  <a:solidFill>
                    <a:srgbClr val="000099"/>
                  </a:solidFill>
                  <a:latin typeface="DIN-Regular" pitchFamily="34" charset="0"/>
                </a:defRPr>
              </a:lvl2pPr>
              <a:lvl3pPr marL="1143000" indent="-228600">
                <a:defRPr sz="1400">
                  <a:solidFill>
                    <a:srgbClr val="000099"/>
                  </a:solidFill>
                  <a:latin typeface="DIN-Regular" pitchFamily="34" charset="0"/>
                </a:defRPr>
              </a:lvl3pPr>
              <a:lvl4pPr marL="1600200" indent="-228600">
                <a:defRPr sz="1400">
                  <a:solidFill>
                    <a:srgbClr val="000099"/>
                  </a:solidFill>
                  <a:latin typeface="DIN-Regular" pitchFamily="34" charset="0"/>
                </a:defRPr>
              </a:lvl4pPr>
              <a:lvl5pPr marL="2057400" indent="-228600">
                <a:defRPr sz="1400">
                  <a:solidFill>
                    <a:srgbClr val="000099"/>
                  </a:solidFill>
                  <a:latin typeface="DIN-Regular" pitchFamily="34" charset="0"/>
                </a:defRPr>
              </a:lvl5pPr>
              <a:lvl6pPr marL="2514600" indent="-228600" eaLnBrk="0" fontAlgn="base" hangingPunct="0">
                <a:lnSpc>
                  <a:spcPct val="110000"/>
                </a:lnSpc>
                <a:spcBef>
                  <a:spcPct val="50000"/>
                </a:spcBef>
                <a:spcAft>
                  <a:spcPct val="0"/>
                </a:spcAft>
                <a:defRPr sz="1400">
                  <a:solidFill>
                    <a:srgbClr val="000099"/>
                  </a:solidFill>
                  <a:latin typeface="DIN-Regular" pitchFamily="34" charset="0"/>
                </a:defRPr>
              </a:lvl6pPr>
              <a:lvl7pPr marL="2971800" indent="-228600" eaLnBrk="0" fontAlgn="base" hangingPunct="0">
                <a:lnSpc>
                  <a:spcPct val="110000"/>
                </a:lnSpc>
                <a:spcBef>
                  <a:spcPct val="50000"/>
                </a:spcBef>
                <a:spcAft>
                  <a:spcPct val="0"/>
                </a:spcAft>
                <a:defRPr sz="1400">
                  <a:solidFill>
                    <a:srgbClr val="000099"/>
                  </a:solidFill>
                  <a:latin typeface="DIN-Regular" pitchFamily="34" charset="0"/>
                </a:defRPr>
              </a:lvl7pPr>
              <a:lvl8pPr marL="3429000" indent="-228600" eaLnBrk="0" fontAlgn="base" hangingPunct="0">
                <a:lnSpc>
                  <a:spcPct val="110000"/>
                </a:lnSpc>
                <a:spcBef>
                  <a:spcPct val="50000"/>
                </a:spcBef>
                <a:spcAft>
                  <a:spcPct val="0"/>
                </a:spcAft>
                <a:defRPr sz="1400">
                  <a:solidFill>
                    <a:srgbClr val="000099"/>
                  </a:solidFill>
                  <a:latin typeface="DIN-Regular" pitchFamily="34" charset="0"/>
                </a:defRPr>
              </a:lvl8pPr>
              <a:lvl9pPr marL="3886200" indent="-228600" eaLnBrk="0" fontAlgn="base" hangingPunct="0">
                <a:lnSpc>
                  <a:spcPct val="110000"/>
                </a:lnSpc>
                <a:spcBef>
                  <a:spcPct val="50000"/>
                </a:spcBef>
                <a:spcAft>
                  <a:spcPct val="0"/>
                </a:spcAft>
                <a:defRPr sz="1400">
                  <a:solidFill>
                    <a:srgbClr val="000099"/>
                  </a:solidFill>
                  <a:latin typeface="DIN-Regular" pitchFamily="34" charset="0"/>
                </a:defRPr>
              </a:lvl9pPr>
            </a:lstStyle>
            <a:p>
              <a:r>
                <a:rPr lang="de-DE" sz="1800">
                  <a:solidFill>
                    <a:srgbClr val="F9C66D"/>
                  </a:solidFill>
                </a:rPr>
                <a:t>1,5 km</a:t>
              </a:r>
            </a:p>
          </p:txBody>
        </p:sp>
      </p:grpSp>
      <p:sp>
        <p:nvSpPr>
          <p:cNvPr id="23562" name="Textfeld 36"/>
          <p:cNvSpPr txBox="1">
            <a:spLocks noChangeArrowheads="1"/>
          </p:cNvSpPr>
          <p:nvPr/>
        </p:nvSpPr>
        <p:spPr bwMode="auto">
          <a:xfrm>
            <a:off x="2711450" y="5361012"/>
            <a:ext cx="1435100" cy="1006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1400">
                <a:solidFill>
                  <a:srgbClr val="000099"/>
                </a:solidFill>
                <a:latin typeface="DIN-Regular" pitchFamily="34" charset="0"/>
              </a:defRPr>
            </a:lvl1pPr>
            <a:lvl2pPr marL="742950" indent="-285750">
              <a:defRPr sz="1400">
                <a:solidFill>
                  <a:srgbClr val="000099"/>
                </a:solidFill>
                <a:latin typeface="DIN-Regular" pitchFamily="34" charset="0"/>
              </a:defRPr>
            </a:lvl2pPr>
            <a:lvl3pPr marL="1143000" indent="-228600">
              <a:defRPr sz="1400">
                <a:solidFill>
                  <a:srgbClr val="000099"/>
                </a:solidFill>
                <a:latin typeface="DIN-Regular" pitchFamily="34" charset="0"/>
              </a:defRPr>
            </a:lvl3pPr>
            <a:lvl4pPr marL="1600200" indent="-228600">
              <a:defRPr sz="1400">
                <a:solidFill>
                  <a:srgbClr val="000099"/>
                </a:solidFill>
                <a:latin typeface="DIN-Regular" pitchFamily="34" charset="0"/>
              </a:defRPr>
            </a:lvl4pPr>
            <a:lvl5pPr marL="2057400" indent="-228600">
              <a:defRPr sz="1400">
                <a:solidFill>
                  <a:srgbClr val="000099"/>
                </a:solidFill>
                <a:latin typeface="DIN-Regular" pitchFamily="34" charset="0"/>
              </a:defRPr>
            </a:lvl5pPr>
            <a:lvl6pPr marL="25146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1400">
                <a:solidFill>
                  <a:srgbClr val="000099"/>
                </a:solidFill>
                <a:latin typeface="DIN-Regular" pitchFamily="34" charset="0"/>
              </a:defRPr>
            </a:lvl6pPr>
            <a:lvl7pPr marL="29718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1400">
                <a:solidFill>
                  <a:srgbClr val="000099"/>
                </a:solidFill>
                <a:latin typeface="DIN-Regular" pitchFamily="34" charset="0"/>
              </a:defRPr>
            </a:lvl7pPr>
            <a:lvl8pPr marL="34290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1400">
                <a:solidFill>
                  <a:srgbClr val="000099"/>
                </a:solidFill>
                <a:latin typeface="DIN-Regular" pitchFamily="34" charset="0"/>
              </a:defRPr>
            </a:lvl8pPr>
            <a:lvl9pPr marL="38862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1400">
                <a:solidFill>
                  <a:srgbClr val="000099"/>
                </a:solidFill>
                <a:latin typeface="DIN-Regular" pitchFamily="34" charset="0"/>
              </a:defRPr>
            </a:lvl9pPr>
          </a:lstStyle>
          <a:p>
            <a:pPr algn="ctr"/>
            <a:r>
              <a:rPr lang="de-DE" sz="1800">
                <a:solidFill>
                  <a:srgbClr val="F9C66D"/>
                </a:solidFill>
              </a:rPr>
              <a:t>Production</a:t>
            </a:r>
            <a:br>
              <a:rPr lang="de-DE" sz="1800">
                <a:solidFill>
                  <a:srgbClr val="F9C66D"/>
                </a:solidFill>
              </a:rPr>
            </a:br>
            <a:r>
              <a:rPr lang="de-DE" sz="1800">
                <a:solidFill>
                  <a:srgbClr val="F9C66D"/>
                </a:solidFill>
              </a:rPr>
              <a:t>&amp;</a:t>
            </a:r>
            <a:br>
              <a:rPr lang="de-DE" sz="1800">
                <a:solidFill>
                  <a:srgbClr val="F9C66D"/>
                </a:solidFill>
              </a:rPr>
            </a:br>
            <a:r>
              <a:rPr lang="de-DE" sz="1800">
                <a:solidFill>
                  <a:srgbClr val="F9C66D"/>
                </a:solidFill>
              </a:rPr>
              <a:t>Power Plant</a:t>
            </a:r>
          </a:p>
        </p:txBody>
      </p:sp>
      <p:sp>
        <p:nvSpPr>
          <p:cNvPr id="23563" name="Textfeld 36"/>
          <p:cNvSpPr txBox="1">
            <a:spLocks noChangeArrowheads="1"/>
          </p:cNvSpPr>
          <p:nvPr/>
        </p:nvSpPr>
        <p:spPr bwMode="auto">
          <a:xfrm>
            <a:off x="5078413" y="2278087"/>
            <a:ext cx="1060450" cy="371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1400">
                <a:solidFill>
                  <a:srgbClr val="000099"/>
                </a:solidFill>
                <a:latin typeface="DIN-Regular" pitchFamily="34" charset="0"/>
              </a:defRPr>
            </a:lvl1pPr>
            <a:lvl2pPr marL="742950" indent="-285750">
              <a:defRPr sz="1400">
                <a:solidFill>
                  <a:srgbClr val="000099"/>
                </a:solidFill>
                <a:latin typeface="DIN-Regular" pitchFamily="34" charset="0"/>
              </a:defRPr>
            </a:lvl2pPr>
            <a:lvl3pPr marL="1143000" indent="-228600">
              <a:defRPr sz="1400">
                <a:solidFill>
                  <a:srgbClr val="000099"/>
                </a:solidFill>
                <a:latin typeface="DIN-Regular" pitchFamily="34" charset="0"/>
              </a:defRPr>
            </a:lvl3pPr>
            <a:lvl4pPr marL="1600200" indent="-228600">
              <a:defRPr sz="1400">
                <a:solidFill>
                  <a:srgbClr val="000099"/>
                </a:solidFill>
                <a:latin typeface="DIN-Regular" pitchFamily="34" charset="0"/>
              </a:defRPr>
            </a:lvl4pPr>
            <a:lvl5pPr marL="2057400" indent="-228600">
              <a:defRPr sz="1400">
                <a:solidFill>
                  <a:srgbClr val="000099"/>
                </a:solidFill>
                <a:latin typeface="DIN-Regular" pitchFamily="34" charset="0"/>
              </a:defRPr>
            </a:lvl5pPr>
            <a:lvl6pPr marL="25146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1400">
                <a:solidFill>
                  <a:srgbClr val="000099"/>
                </a:solidFill>
                <a:latin typeface="DIN-Regular" pitchFamily="34" charset="0"/>
              </a:defRPr>
            </a:lvl6pPr>
            <a:lvl7pPr marL="29718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1400">
                <a:solidFill>
                  <a:srgbClr val="000099"/>
                </a:solidFill>
                <a:latin typeface="DIN-Regular" pitchFamily="34" charset="0"/>
              </a:defRPr>
            </a:lvl7pPr>
            <a:lvl8pPr marL="34290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1400">
                <a:solidFill>
                  <a:srgbClr val="000099"/>
                </a:solidFill>
                <a:latin typeface="DIN-Regular" pitchFamily="34" charset="0"/>
              </a:defRPr>
            </a:lvl8pPr>
            <a:lvl9pPr marL="38862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1400">
                <a:solidFill>
                  <a:srgbClr val="000099"/>
                </a:solidFill>
                <a:latin typeface="DIN-Regular" pitchFamily="34" charset="0"/>
              </a:defRPr>
            </a:lvl9pPr>
          </a:lstStyle>
          <a:p>
            <a:pPr algn="ctr"/>
            <a:r>
              <a:rPr lang="de-DE" sz="1800">
                <a:solidFill>
                  <a:srgbClr val="F9C66D"/>
                </a:solidFill>
              </a:rPr>
              <a:t>Injection</a:t>
            </a:r>
          </a:p>
        </p:txBody>
      </p:sp>
      <p:grpSp>
        <p:nvGrpSpPr>
          <p:cNvPr id="4" name="Gruppieren 21"/>
          <p:cNvGrpSpPr>
            <a:grpSpLocks/>
          </p:cNvGrpSpPr>
          <p:nvPr/>
        </p:nvGrpSpPr>
        <p:grpSpPr bwMode="auto">
          <a:xfrm>
            <a:off x="571500" y="1736750"/>
            <a:ext cx="8012113" cy="4856162"/>
            <a:chOff x="612775" y="1366838"/>
            <a:chExt cx="8012113" cy="4856162"/>
          </a:xfrm>
        </p:grpSpPr>
        <p:grpSp>
          <p:nvGrpSpPr>
            <p:cNvPr id="23565" name="Gruppieren 23"/>
            <p:cNvGrpSpPr>
              <a:grpSpLocks/>
            </p:cNvGrpSpPr>
            <p:nvPr/>
          </p:nvGrpSpPr>
          <p:grpSpPr bwMode="auto">
            <a:xfrm>
              <a:off x="612775" y="1366838"/>
              <a:ext cx="8012113" cy="4856162"/>
              <a:chOff x="333955" y="1534602"/>
              <a:chExt cx="8011576" cy="4856400"/>
            </a:xfrm>
          </p:grpSpPr>
          <p:pic>
            <p:nvPicPr>
              <p:cNvPr id="23575" name="Picture 12"/>
              <p:cNvPicPr>
                <a:picLocks noChangeAspect="1" noChangeArrowheads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xmlns="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33955" y="1534602"/>
                <a:ext cx="8011576" cy="48564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3576" name="Ellipse 42"/>
              <p:cNvSpPr>
                <a:spLocks noChangeArrowheads="1"/>
              </p:cNvSpPr>
              <p:nvPr/>
            </p:nvSpPr>
            <p:spPr bwMode="auto">
              <a:xfrm>
                <a:off x="1669774" y="5208105"/>
                <a:ext cx="659958" cy="659958"/>
              </a:xfrm>
              <a:prstGeom prst="ellipse">
                <a:avLst/>
              </a:prstGeom>
              <a:noFill/>
              <a:ln w="28575" algn="ctr">
                <a:solidFill>
                  <a:srgbClr val="F9C66D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</a:extLst>
            </p:spPr>
            <p:txBody>
              <a:bodyPr lIns="36000" tIns="0" bIns="0" anchor="b">
                <a:spAutoFit/>
              </a:bodyPr>
              <a:lstStyle/>
              <a:p>
                <a:endParaRPr lang="en-US"/>
              </a:p>
            </p:txBody>
          </p:sp>
          <p:sp>
            <p:nvSpPr>
              <p:cNvPr id="23577" name="Ellipse 43"/>
              <p:cNvSpPr>
                <a:spLocks noChangeArrowheads="1"/>
              </p:cNvSpPr>
              <p:nvPr/>
            </p:nvSpPr>
            <p:spPr bwMode="auto">
              <a:xfrm>
                <a:off x="5940949" y="1790370"/>
                <a:ext cx="659958" cy="659958"/>
              </a:xfrm>
              <a:prstGeom prst="ellipse">
                <a:avLst/>
              </a:prstGeom>
              <a:noFill/>
              <a:ln w="28575" algn="ctr">
                <a:solidFill>
                  <a:srgbClr val="F9C66D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</a:extLst>
            </p:spPr>
            <p:txBody>
              <a:bodyPr lIns="36000" tIns="0" bIns="0" anchor="b">
                <a:spAutoFit/>
              </a:bodyPr>
              <a:lstStyle/>
              <a:p>
                <a:endParaRPr lang="en-US"/>
              </a:p>
            </p:txBody>
          </p:sp>
          <p:cxnSp>
            <p:nvCxnSpPr>
              <p:cNvPr id="23578" name="Gerade Verbindung mit Pfeil 44"/>
              <p:cNvCxnSpPr>
                <a:cxnSpLocks noChangeShapeType="1"/>
                <a:stCxn id="23576" idx="7"/>
                <a:endCxn id="23577" idx="3"/>
              </p:cNvCxnSpPr>
              <p:nvPr/>
            </p:nvCxnSpPr>
            <p:spPr bwMode="auto">
              <a:xfrm flipV="1">
                <a:off x="2233083" y="2353679"/>
                <a:ext cx="3804515" cy="2951075"/>
              </a:xfrm>
              <a:prstGeom prst="straightConnector1">
                <a:avLst/>
              </a:prstGeom>
              <a:noFill/>
              <a:ln w="28575" algn="ctr">
                <a:solidFill>
                  <a:srgbClr val="F9C66D"/>
                </a:solidFill>
                <a:round/>
                <a:headEnd type="arrow" w="med" len="med"/>
                <a:tailEnd type="arrow" w="med" len="med"/>
              </a:ln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</a:extLst>
            </p:spPr>
          </p:cxnSp>
          <p:sp>
            <p:nvSpPr>
              <p:cNvPr id="23579" name="Textfeld 45"/>
              <p:cNvSpPr txBox="1">
                <a:spLocks noChangeArrowheads="1"/>
              </p:cNvSpPr>
              <p:nvPr/>
            </p:nvSpPr>
            <p:spPr bwMode="auto">
              <a:xfrm rot="-2298211">
                <a:off x="4484536" y="3223122"/>
                <a:ext cx="870751" cy="39703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>
                  <a:defRPr sz="1400">
                    <a:solidFill>
                      <a:srgbClr val="000099"/>
                    </a:solidFill>
                    <a:latin typeface="DIN-Regular" pitchFamily="34" charset="0"/>
                  </a:defRPr>
                </a:lvl1pPr>
                <a:lvl2pPr marL="742950" indent="-285750">
                  <a:defRPr sz="1400">
                    <a:solidFill>
                      <a:srgbClr val="000099"/>
                    </a:solidFill>
                    <a:latin typeface="DIN-Regular" pitchFamily="34" charset="0"/>
                  </a:defRPr>
                </a:lvl2pPr>
                <a:lvl3pPr marL="1143000" indent="-228600">
                  <a:defRPr sz="1400">
                    <a:solidFill>
                      <a:srgbClr val="000099"/>
                    </a:solidFill>
                    <a:latin typeface="DIN-Regular" pitchFamily="34" charset="0"/>
                  </a:defRPr>
                </a:lvl3pPr>
                <a:lvl4pPr marL="1600200" indent="-228600">
                  <a:defRPr sz="1400">
                    <a:solidFill>
                      <a:srgbClr val="000099"/>
                    </a:solidFill>
                    <a:latin typeface="DIN-Regular" pitchFamily="34" charset="0"/>
                  </a:defRPr>
                </a:lvl4pPr>
                <a:lvl5pPr marL="2057400" indent="-228600">
                  <a:defRPr sz="1400">
                    <a:solidFill>
                      <a:srgbClr val="000099"/>
                    </a:solidFill>
                    <a:latin typeface="DIN-Regular" pitchFamily="34" charset="0"/>
                  </a:defRPr>
                </a:lvl5pPr>
                <a:lvl6pPr marL="2514600" indent="-228600" eaLnBrk="0" fontAlgn="base" hangingPunct="0">
                  <a:lnSpc>
                    <a:spcPct val="110000"/>
                  </a:lnSpc>
                  <a:spcBef>
                    <a:spcPct val="50000"/>
                  </a:spcBef>
                  <a:spcAft>
                    <a:spcPct val="0"/>
                  </a:spcAft>
                  <a:defRPr sz="1400">
                    <a:solidFill>
                      <a:srgbClr val="000099"/>
                    </a:solidFill>
                    <a:latin typeface="DIN-Regular" pitchFamily="34" charset="0"/>
                  </a:defRPr>
                </a:lvl6pPr>
                <a:lvl7pPr marL="2971800" indent="-228600" eaLnBrk="0" fontAlgn="base" hangingPunct="0">
                  <a:lnSpc>
                    <a:spcPct val="110000"/>
                  </a:lnSpc>
                  <a:spcBef>
                    <a:spcPct val="50000"/>
                  </a:spcBef>
                  <a:spcAft>
                    <a:spcPct val="0"/>
                  </a:spcAft>
                  <a:defRPr sz="1400">
                    <a:solidFill>
                      <a:srgbClr val="000099"/>
                    </a:solidFill>
                    <a:latin typeface="DIN-Regular" pitchFamily="34" charset="0"/>
                  </a:defRPr>
                </a:lvl7pPr>
                <a:lvl8pPr marL="3429000" indent="-228600" eaLnBrk="0" fontAlgn="base" hangingPunct="0">
                  <a:lnSpc>
                    <a:spcPct val="110000"/>
                  </a:lnSpc>
                  <a:spcBef>
                    <a:spcPct val="50000"/>
                  </a:spcBef>
                  <a:spcAft>
                    <a:spcPct val="0"/>
                  </a:spcAft>
                  <a:defRPr sz="1400">
                    <a:solidFill>
                      <a:srgbClr val="000099"/>
                    </a:solidFill>
                    <a:latin typeface="DIN-Regular" pitchFamily="34" charset="0"/>
                  </a:defRPr>
                </a:lvl8pPr>
                <a:lvl9pPr marL="3886200" indent="-228600" eaLnBrk="0" fontAlgn="base" hangingPunct="0">
                  <a:lnSpc>
                    <a:spcPct val="110000"/>
                  </a:lnSpc>
                  <a:spcBef>
                    <a:spcPct val="50000"/>
                  </a:spcBef>
                  <a:spcAft>
                    <a:spcPct val="0"/>
                  </a:spcAft>
                  <a:defRPr sz="1400">
                    <a:solidFill>
                      <a:srgbClr val="000099"/>
                    </a:solidFill>
                    <a:latin typeface="DIN-Regular" pitchFamily="34" charset="0"/>
                  </a:defRPr>
                </a:lvl9pPr>
              </a:lstStyle>
              <a:p>
                <a:r>
                  <a:rPr lang="de-DE" sz="1800">
                    <a:solidFill>
                      <a:srgbClr val="F9C66D"/>
                    </a:solidFill>
                  </a:rPr>
                  <a:t>1,5 km</a:t>
                </a:r>
              </a:p>
            </p:txBody>
          </p:sp>
        </p:grpSp>
        <p:pic>
          <p:nvPicPr>
            <p:cNvPr id="23566" name="Picture 2" descr="C:\Users\TKKK\Desktop\EnBW\Tiefe Geothermie\Bruchsal, September 2011\Googlemaps.png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12775" y="1366838"/>
              <a:ext cx="7139466" cy="48559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grpSp>
          <p:nvGrpSpPr>
            <p:cNvPr id="23567" name="Gruppieren 22"/>
            <p:cNvGrpSpPr>
              <a:grpSpLocks/>
            </p:cNvGrpSpPr>
            <p:nvPr/>
          </p:nvGrpSpPr>
          <p:grpSpPr bwMode="auto">
            <a:xfrm>
              <a:off x="612775" y="1366838"/>
              <a:ext cx="8012113" cy="4856162"/>
              <a:chOff x="613158" y="1542010"/>
              <a:chExt cx="8011576" cy="4856400"/>
            </a:xfrm>
          </p:grpSpPr>
          <p:pic>
            <p:nvPicPr>
              <p:cNvPr id="23568" name="Picture 8"/>
              <p:cNvPicPr>
                <a:picLocks noChangeAspect="1" noChangeArrowheads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 xmlns="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13158" y="1542010"/>
                <a:ext cx="8011576" cy="48564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cxnSp>
            <p:nvCxnSpPr>
              <p:cNvPr id="23569" name="Gerade Verbindung mit Pfeil 35"/>
              <p:cNvCxnSpPr>
                <a:cxnSpLocks noChangeShapeType="1"/>
              </p:cNvCxnSpPr>
              <p:nvPr/>
            </p:nvCxnSpPr>
            <p:spPr bwMode="auto">
              <a:xfrm>
                <a:off x="2965835" y="3196423"/>
                <a:ext cx="675861" cy="699714"/>
              </a:xfrm>
              <a:prstGeom prst="straightConnector1">
                <a:avLst/>
              </a:prstGeom>
              <a:noFill/>
              <a:ln w="28575" algn="ctr">
                <a:solidFill>
                  <a:srgbClr val="F9C66D"/>
                </a:solidFill>
                <a:round/>
                <a:headEnd/>
                <a:tailEnd type="arrow" w="med" len="med"/>
              </a:ln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</a:extLst>
            </p:spPr>
          </p:cxnSp>
          <p:sp>
            <p:nvSpPr>
              <p:cNvPr id="23570" name="Textfeld 36"/>
              <p:cNvSpPr txBox="1">
                <a:spLocks noChangeArrowheads="1"/>
              </p:cNvSpPr>
              <p:nvPr/>
            </p:nvSpPr>
            <p:spPr bwMode="auto">
              <a:xfrm>
                <a:off x="2234316" y="2862466"/>
                <a:ext cx="1313092" cy="36935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>
                  <a:defRPr sz="1400">
                    <a:solidFill>
                      <a:srgbClr val="000099"/>
                    </a:solidFill>
                    <a:latin typeface="DIN-Regular" pitchFamily="34" charset="0"/>
                  </a:defRPr>
                </a:lvl1pPr>
                <a:lvl2pPr marL="742950" indent="-285750">
                  <a:defRPr sz="1400">
                    <a:solidFill>
                      <a:srgbClr val="000099"/>
                    </a:solidFill>
                    <a:latin typeface="DIN-Regular" pitchFamily="34" charset="0"/>
                  </a:defRPr>
                </a:lvl2pPr>
                <a:lvl3pPr marL="1143000" indent="-228600">
                  <a:defRPr sz="1400">
                    <a:solidFill>
                      <a:srgbClr val="000099"/>
                    </a:solidFill>
                    <a:latin typeface="DIN-Regular" pitchFamily="34" charset="0"/>
                  </a:defRPr>
                </a:lvl3pPr>
                <a:lvl4pPr marL="1600200" indent="-228600">
                  <a:defRPr sz="1400">
                    <a:solidFill>
                      <a:srgbClr val="000099"/>
                    </a:solidFill>
                    <a:latin typeface="DIN-Regular" pitchFamily="34" charset="0"/>
                  </a:defRPr>
                </a:lvl4pPr>
                <a:lvl5pPr marL="2057400" indent="-228600">
                  <a:defRPr sz="1400">
                    <a:solidFill>
                      <a:srgbClr val="000099"/>
                    </a:solidFill>
                    <a:latin typeface="DIN-Regular" pitchFamily="34" charset="0"/>
                  </a:defRPr>
                </a:lvl5pPr>
                <a:lvl6pPr marL="2514600" indent="-228600" eaLnBrk="0" fontAlgn="base" hangingPunct="0">
                  <a:lnSpc>
                    <a:spcPct val="110000"/>
                  </a:lnSpc>
                  <a:spcBef>
                    <a:spcPct val="50000"/>
                  </a:spcBef>
                  <a:spcAft>
                    <a:spcPct val="0"/>
                  </a:spcAft>
                  <a:defRPr sz="1400">
                    <a:solidFill>
                      <a:srgbClr val="000099"/>
                    </a:solidFill>
                    <a:latin typeface="DIN-Regular" pitchFamily="34" charset="0"/>
                  </a:defRPr>
                </a:lvl6pPr>
                <a:lvl7pPr marL="2971800" indent="-228600" eaLnBrk="0" fontAlgn="base" hangingPunct="0">
                  <a:lnSpc>
                    <a:spcPct val="110000"/>
                  </a:lnSpc>
                  <a:spcBef>
                    <a:spcPct val="50000"/>
                  </a:spcBef>
                  <a:spcAft>
                    <a:spcPct val="0"/>
                  </a:spcAft>
                  <a:defRPr sz="1400">
                    <a:solidFill>
                      <a:srgbClr val="000099"/>
                    </a:solidFill>
                    <a:latin typeface="DIN-Regular" pitchFamily="34" charset="0"/>
                  </a:defRPr>
                </a:lvl7pPr>
                <a:lvl8pPr marL="3429000" indent="-228600" eaLnBrk="0" fontAlgn="base" hangingPunct="0">
                  <a:lnSpc>
                    <a:spcPct val="110000"/>
                  </a:lnSpc>
                  <a:spcBef>
                    <a:spcPct val="50000"/>
                  </a:spcBef>
                  <a:spcAft>
                    <a:spcPct val="0"/>
                  </a:spcAft>
                  <a:defRPr sz="1400">
                    <a:solidFill>
                      <a:srgbClr val="000099"/>
                    </a:solidFill>
                    <a:latin typeface="DIN-Regular" pitchFamily="34" charset="0"/>
                  </a:defRPr>
                </a:lvl8pPr>
                <a:lvl9pPr marL="3886200" indent="-228600" eaLnBrk="0" fontAlgn="base" hangingPunct="0">
                  <a:lnSpc>
                    <a:spcPct val="110000"/>
                  </a:lnSpc>
                  <a:spcBef>
                    <a:spcPct val="50000"/>
                  </a:spcBef>
                  <a:spcAft>
                    <a:spcPct val="0"/>
                  </a:spcAft>
                  <a:defRPr sz="1400">
                    <a:solidFill>
                      <a:srgbClr val="000099"/>
                    </a:solidFill>
                    <a:latin typeface="DIN-Regular" pitchFamily="34" charset="0"/>
                  </a:defRPr>
                </a:lvl9pPr>
              </a:lstStyle>
              <a:p>
                <a:r>
                  <a:rPr lang="hu-HU" sz="1800" dirty="0" smtClean="0">
                    <a:solidFill>
                      <a:srgbClr val="FF0000"/>
                    </a:solidFill>
                  </a:rPr>
                  <a:t>Hűtőtorony</a:t>
                </a:r>
                <a:endParaRPr lang="de-DE" sz="1800" dirty="0">
                  <a:solidFill>
                    <a:srgbClr val="FF0000"/>
                  </a:solidFill>
                </a:endParaRPr>
              </a:p>
            </p:txBody>
          </p:sp>
          <p:cxnSp>
            <p:nvCxnSpPr>
              <p:cNvPr id="23571" name="Gerade Verbindung mit Pfeil 37"/>
              <p:cNvCxnSpPr>
                <a:cxnSpLocks noChangeShapeType="1"/>
              </p:cNvCxnSpPr>
              <p:nvPr/>
            </p:nvCxnSpPr>
            <p:spPr bwMode="auto">
              <a:xfrm>
                <a:off x="3094381" y="4438152"/>
                <a:ext cx="913076" cy="22530"/>
              </a:xfrm>
              <a:prstGeom prst="straightConnector1">
                <a:avLst/>
              </a:prstGeom>
              <a:noFill/>
              <a:ln w="28575" algn="ctr">
                <a:solidFill>
                  <a:srgbClr val="F9C66D"/>
                </a:solidFill>
                <a:round/>
                <a:headEnd/>
                <a:tailEnd type="arrow" w="med" len="med"/>
              </a:ln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</a:extLst>
            </p:spPr>
          </p:cxnSp>
          <p:sp>
            <p:nvSpPr>
              <p:cNvPr id="23572" name="Textfeld 38"/>
              <p:cNvSpPr txBox="1">
                <a:spLocks noChangeArrowheads="1"/>
              </p:cNvSpPr>
              <p:nvPr/>
            </p:nvSpPr>
            <p:spPr bwMode="auto">
              <a:xfrm>
                <a:off x="2362862" y="4104195"/>
                <a:ext cx="864281" cy="36935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>
                  <a:defRPr sz="1400">
                    <a:solidFill>
                      <a:srgbClr val="000099"/>
                    </a:solidFill>
                    <a:latin typeface="DIN-Regular" pitchFamily="34" charset="0"/>
                  </a:defRPr>
                </a:lvl1pPr>
                <a:lvl2pPr marL="742950" indent="-285750">
                  <a:defRPr sz="1400">
                    <a:solidFill>
                      <a:srgbClr val="000099"/>
                    </a:solidFill>
                    <a:latin typeface="DIN-Regular" pitchFamily="34" charset="0"/>
                  </a:defRPr>
                </a:lvl2pPr>
                <a:lvl3pPr marL="1143000" indent="-228600">
                  <a:defRPr sz="1400">
                    <a:solidFill>
                      <a:srgbClr val="000099"/>
                    </a:solidFill>
                    <a:latin typeface="DIN-Regular" pitchFamily="34" charset="0"/>
                  </a:defRPr>
                </a:lvl3pPr>
                <a:lvl4pPr marL="1600200" indent="-228600">
                  <a:defRPr sz="1400">
                    <a:solidFill>
                      <a:srgbClr val="000099"/>
                    </a:solidFill>
                    <a:latin typeface="DIN-Regular" pitchFamily="34" charset="0"/>
                  </a:defRPr>
                </a:lvl4pPr>
                <a:lvl5pPr marL="2057400" indent="-228600">
                  <a:defRPr sz="1400">
                    <a:solidFill>
                      <a:srgbClr val="000099"/>
                    </a:solidFill>
                    <a:latin typeface="DIN-Regular" pitchFamily="34" charset="0"/>
                  </a:defRPr>
                </a:lvl5pPr>
                <a:lvl6pPr marL="2514600" indent="-228600" eaLnBrk="0" fontAlgn="base" hangingPunct="0">
                  <a:lnSpc>
                    <a:spcPct val="110000"/>
                  </a:lnSpc>
                  <a:spcBef>
                    <a:spcPct val="50000"/>
                  </a:spcBef>
                  <a:spcAft>
                    <a:spcPct val="0"/>
                  </a:spcAft>
                  <a:defRPr sz="1400">
                    <a:solidFill>
                      <a:srgbClr val="000099"/>
                    </a:solidFill>
                    <a:latin typeface="DIN-Regular" pitchFamily="34" charset="0"/>
                  </a:defRPr>
                </a:lvl6pPr>
                <a:lvl7pPr marL="2971800" indent="-228600" eaLnBrk="0" fontAlgn="base" hangingPunct="0">
                  <a:lnSpc>
                    <a:spcPct val="110000"/>
                  </a:lnSpc>
                  <a:spcBef>
                    <a:spcPct val="50000"/>
                  </a:spcBef>
                  <a:spcAft>
                    <a:spcPct val="0"/>
                  </a:spcAft>
                  <a:defRPr sz="1400">
                    <a:solidFill>
                      <a:srgbClr val="000099"/>
                    </a:solidFill>
                    <a:latin typeface="DIN-Regular" pitchFamily="34" charset="0"/>
                  </a:defRPr>
                </a:lvl7pPr>
                <a:lvl8pPr marL="3429000" indent="-228600" eaLnBrk="0" fontAlgn="base" hangingPunct="0">
                  <a:lnSpc>
                    <a:spcPct val="110000"/>
                  </a:lnSpc>
                  <a:spcBef>
                    <a:spcPct val="50000"/>
                  </a:spcBef>
                  <a:spcAft>
                    <a:spcPct val="0"/>
                  </a:spcAft>
                  <a:defRPr sz="1400">
                    <a:solidFill>
                      <a:srgbClr val="000099"/>
                    </a:solidFill>
                    <a:latin typeface="DIN-Regular" pitchFamily="34" charset="0"/>
                  </a:defRPr>
                </a:lvl8pPr>
                <a:lvl9pPr marL="3886200" indent="-228600" eaLnBrk="0" fontAlgn="base" hangingPunct="0">
                  <a:lnSpc>
                    <a:spcPct val="110000"/>
                  </a:lnSpc>
                  <a:spcBef>
                    <a:spcPct val="50000"/>
                  </a:spcBef>
                  <a:spcAft>
                    <a:spcPct val="0"/>
                  </a:spcAft>
                  <a:defRPr sz="1400">
                    <a:solidFill>
                      <a:srgbClr val="000099"/>
                    </a:solidFill>
                    <a:latin typeface="DIN-Regular" pitchFamily="34" charset="0"/>
                  </a:defRPr>
                </a:lvl9pPr>
              </a:lstStyle>
              <a:p>
                <a:r>
                  <a:rPr lang="hu-HU" sz="1800" dirty="0" smtClean="0">
                    <a:solidFill>
                      <a:srgbClr val="FF0000"/>
                    </a:solidFill>
                  </a:rPr>
                  <a:t>Erőmű</a:t>
                </a:r>
                <a:endParaRPr lang="de-DE" sz="1800" dirty="0">
                  <a:solidFill>
                    <a:srgbClr val="FF0000"/>
                  </a:solidFill>
                </a:endParaRPr>
              </a:p>
            </p:txBody>
          </p:sp>
          <p:cxnSp>
            <p:nvCxnSpPr>
              <p:cNvPr id="23573" name="Gerade Verbindung mit Pfeil 39"/>
              <p:cNvCxnSpPr>
                <a:cxnSpLocks noChangeShapeType="1"/>
              </p:cNvCxnSpPr>
              <p:nvPr/>
            </p:nvCxnSpPr>
            <p:spPr bwMode="auto">
              <a:xfrm flipH="1">
                <a:off x="6202017" y="4619708"/>
                <a:ext cx="556592" cy="286247"/>
              </a:xfrm>
              <a:prstGeom prst="straightConnector1">
                <a:avLst/>
              </a:prstGeom>
              <a:noFill/>
              <a:ln w="28575" algn="ctr">
                <a:solidFill>
                  <a:srgbClr val="F9C66D"/>
                </a:solidFill>
                <a:round/>
                <a:headEnd/>
                <a:tailEnd type="arrow" w="med" len="med"/>
              </a:ln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</a:extLst>
            </p:spPr>
          </p:cxnSp>
          <p:sp>
            <p:nvSpPr>
              <p:cNvPr id="23574" name="Textfeld 40"/>
              <p:cNvSpPr txBox="1">
                <a:spLocks noChangeArrowheads="1"/>
              </p:cNvSpPr>
              <p:nvPr/>
            </p:nvSpPr>
            <p:spPr bwMode="auto">
              <a:xfrm>
                <a:off x="6340563" y="4310460"/>
                <a:ext cx="1313157" cy="64636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>
                  <a:defRPr sz="1400">
                    <a:solidFill>
                      <a:srgbClr val="000099"/>
                    </a:solidFill>
                    <a:latin typeface="DIN-Regular" pitchFamily="34" charset="0"/>
                  </a:defRPr>
                </a:lvl1pPr>
                <a:lvl2pPr marL="742950" indent="-285750">
                  <a:defRPr sz="1400">
                    <a:solidFill>
                      <a:srgbClr val="000099"/>
                    </a:solidFill>
                    <a:latin typeface="DIN-Regular" pitchFamily="34" charset="0"/>
                  </a:defRPr>
                </a:lvl2pPr>
                <a:lvl3pPr marL="1143000" indent="-228600">
                  <a:defRPr sz="1400">
                    <a:solidFill>
                      <a:srgbClr val="000099"/>
                    </a:solidFill>
                    <a:latin typeface="DIN-Regular" pitchFamily="34" charset="0"/>
                  </a:defRPr>
                </a:lvl3pPr>
                <a:lvl4pPr marL="1600200" indent="-228600">
                  <a:defRPr sz="1400">
                    <a:solidFill>
                      <a:srgbClr val="000099"/>
                    </a:solidFill>
                    <a:latin typeface="DIN-Regular" pitchFamily="34" charset="0"/>
                  </a:defRPr>
                </a:lvl4pPr>
                <a:lvl5pPr marL="2057400" indent="-228600">
                  <a:defRPr sz="1400">
                    <a:solidFill>
                      <a:srgbClr val="000099"/>
                    </a:solidFill>
                    <a:latin typeface="DIN-Regular" pitchFamily="34" charset="0"/>
                  </a:defRPr>
                </a:lvl5pPr>
                <a:lvl6pPr marL="2514600" indent="-228600" eaLnBrk="0" fontAlgn="base" hangingPunct="0">
                  <a:lnSpc>
                    <a:spcPct val="110000"/>
                  </a:lnSpc>
                  <a:spcBef>
                    <a:spcPct val="50000"/>
                  </a:spcBef>
                  <a:spcAft>
                    <a:spcPct val="0"/>
                  </a:spcAft>
                  <a:defRPr sz="1400">
                    <a:solidFill>
                      <a:srgbClr val="000099"/>
                    </a:solidFill>
                    <a:latin typeface="DIN-Regular" pitchFamily="34" charset="0"/>
                  </a:defRPr>
                </a:lvl6pPr>
                <a:lvl7pPr marL="2971800" indent="-228600" eaLnBrk="0" fontAlgn="base" hangingPunct="0">
                  <a:lnSpc>
                    <a:spcPct val="110000"/>
                  </a:lnSpc>
                  <a:spcBef>
                    <a:spcPct val="50000"/>
                  </a:spcBef>
                  <a:spcAft>
                    <a:spcPct val="0"/>
                  </a:spcAft>
                  <a:defRPr sz="1400">
                    <a:solidFill>
                      <a:srgbClr val="000099"/>
                    </a:solidFill>
                    <a:latin typeface="DIN-Regular" pitchFamily="34" charset="0"/>
                  </a:defRPr>
                </a:lvl7pPr>
                <a:lvl8pPr marL="3429000" indent="-228600" eaLnBrk="0" fontAlgn="base" hangingPunct="0">
                  <a:lnSpc>
                    <a:spcPct val="110000"/>
                  </a:lnSpc>
                  <a:spcBef>
                    <a:spcPct val="50000"/>
                  </a:spcBef>
                  <a:spcAft>
                    <a:spcPct val="0"/>
                  </a:spcAft>
                  <a:defRPr sz="1400">
                    <a:solidFill>
                      <a:srgbClr val="000099"/>
                    </a:solidFill>
                    <a:latin typeface="DIN-Regular" pitchFamily="34" charset="0"/>
                  </a:defRPr>
                </a:lvl8pPr>
                <a:lvl9pPr marL="3886200" indent="-228600" eaLnBrk="0" fontAlgn="base" hangingPunct="0">
                  <a:lnSpc>
                    <a:spcPct val="110000"/>
                  </a:lnSpc>
                  <a:spcBef>
                    <a:spcPct val="50000"/>
                  </a:spcBef>
                  <a:spcAft>
                    <a:spcPct val="0"/>
                  </a:spcAft>
                  <a:defRPr sz="1400">
                    <a:solidFill>
                      <a:srgbClr val="000099"/>
                    </a:solidFill>
                    <a:latin typeface="DIN-Regular" pitchFamily="34" charset="0"/>
                  </a:defRPr>
                </a:lvl9pPr>
              </a:lstStyle>
              <a:p>
                <a:r>
                  <a:rPr lang="hu-HU" sz="1800" dirty="0" smtClean="0">
                    <a:solidFill>
                      <a:srgbClr val="FF0000"/>
                    </a:solidFill>
                  </a:rPr>
                  <a:t>Termelőkút</a:t>
                </a:r>
                <a:r>
                  <a:rPr lang="de-DE" sz="1800" dirty="0">
                    <a:solidFill>
                      <a:srgbClr val="F9C66D"/>
                    </a:solidFill>
                  </a:rPr>
                  <a:t/>
                </a:r>
                <a:br>
                  <a:rPr lang="de-DE" sz="1800" dirty="0">
                    <a:solidFill>
                      <a:srgbClr val="F9C66D"/>
                    </a:solidFill>
                  </a:rPr>
                </a:br>
                <a:endParaRPr lang="de-DE" sz="1800" dirty="0">
                  <a:solidFill>
                    <a:srgbClr val="F9C66D"/>
                  </a:solidFill>
                </a:endParaRPr>
              </a:p>
            </p:txBody>
          </p:sp>
        </p:grpSp>
      </p:grpSp>
      <p:sp>
        <p:nvSpPr>
          <p:cNvPr id="39" name="Titel 1"/>
          <p:cNvSpPr txBox="1">
            <a:spLocks/>
          </p:cNvSpPr>
          <p:nvPr/>
        </p:nvSpPr>
        <p:spPr bwMode="auto">
          <a:xfrm>
            <a:off x="584200" y="547688"/>
            <a:ext cx="6940550" cy="1152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2000">
                <a:solidFill>
                  <a:srgbClr val="000099"/>
                </a:solidFill>
                <a:latin typeface="+mj-lt"/>
                <a:ea typeface="Lucida Sans Unicode" pitchFamily="34" charset="0"/>
                <a:cs typeface="+mj-cs"/>
              </a:defRPr>
            </a:lvl1pPr>
            <a:lvl2pPr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2000">
                <a:solidFill>
                  <a:srgbClr val="000099"/>
                </a:solidFill>
                <a:latin typeface="DIN-Medium" pitchFamily="34" charset="0"/>
                <a:ea typeface="Lucida Sans Unicode" pitchFamily="34" charset="0"/>
                <a:cs typeface="Lucida Sans Unicode" pitchFamily="34" charset="0"/>
              </a:defRPr>
            </a:lvl2pPr>
            <a:lvl3pPr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2000">
                <a:solidFill>
                  <a:srgbClr val="000099"/>
                </a:solidFill>
                <a:latin typeface="DIN-Medium" pitchFamily="34" charset="0"/>
                <a:ea typeface="Lucida Sans Unicode" pitchFamily="34" charset="0"/>
                <a:cs typeface="Lucida Sans Unicode" pitchFamily="34" charset="0"/>
              </a:defRPr>
            </a:lvl3pPr>
            <a:lvl4pPr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2000">
                <a:solidFill>
                  <a:srgbClr val="000099"/>
                </a:solidFill>
                <a:latin typeface="DIN-Medium" pitchFamily="34" charset="0"/>
                <a:ea typeface="Lucida Sans Unicode" pitchFamily="34" charset="0"/>
                <a:cs typeface="Lucida Sans Unicode" pitchFamily="34" charset="0"/>
              </a:defRPr>
            </a:lvl4pPr>
            <a:lvl5pPr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2000">
                <a:solidFill>
                  <a:srgbClr val="000099"/>
                </a:solidFill>
                <a:latin typeface="DIN-Medium" pitchFamily="34" charset="0"/>
                <a:ea typeface="Lucida Sans Unicode" pitchFamily="34" charset="0"/>
                <a:cs typeface="Lucida Sans Unicode" pitchFamily="34" charset="0"/>
              </a:defRPr>
            </a:lvl5pPr>
            <a:lvl6pPr marL="2514600" indent="-228600" algn="l" defTabSz="449263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2000">
                <a:solidFill>
                  <a:srgbClr val="000099"/>
                </a:solidFill>
                <a:latin typeface="DIN-Medium" pitchFamily="34" charset="0"/>
                <a:cs typeface="Lucida Sans Unicode" pitchFamily="34" charset="0"/>
              </a:defRPr>
            </a:lvl6pPr>
            <a:lvl7pPr marL="2971800" indent="-228600" algn="l" defTabSz="449263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2000">
                <a:solidFill>
                  <a:srgbClr val="000099"/>
                </a:solidFill>
                <a:latin typeface="DIN-Medium" pitchFamily="34" charset="0"/>
                <a:cs typeface="Lucida Sans Unicode" pitchFamily="34" charset="0"/>
              </a:defRPr>
            </a:lvl7pPr>
            <a:lvl8pPr marL="3429000" indent="-228600" algn="l" defTabSz="449263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2000">
                <a:solidFill>
                  <a:srgbClr val="000099"/>
                </a:solidFill>
                <a:latin typeface="DIN-Medium" pitchFamily="34" charset="0"/>
                <a:cs typeface="Lucida Sans Unicode" pitchFamily="34" charset="0"/>
              </a:defRPr>
            </a:lvl8pPr>
            <a:lvl9pPr marL="3886200" indent="-228600" algn="l" defTabSz="449263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2000">
                <a:solidFill>
                  <a:srgbClr val="000099"/>
                </a:solidFill>
                <a:latin typeface="DIN-Medium" pitchFamily="34" charset="0"/>
                <a:cs typeface="Lucida Sans Unicode" pitchFamily="34" charset="0"/>
              </a:defRPr>
            </a:lvl9pPr>
          </a:lstStyle>
          <a:p>
            <a:pPr>
              <a:defRPr/>
            </a:pPr>
            <a:r>
              <a:rPr lang="hu-HU" sz="2400" dirty="0" smtClean="0">
                <a:ea typeface="+mj-ea"/>
              </a:rPr>
              <a:t>Erőmű és termálvízkút </a:t>
            </a:r>
            <a:r>
              <a:rPr lang="de-DE" sz="2400" dirty="0" smtClean="0">
                <a:ea typeface="+mj-ea"/>
              </a:rPr>
              <a:t/>
            </a:r>
            <a:br>
              <a:rPr lang="de-DE" sz="2400" dirty="0" smtClean="0">
                <a:ea typeface="+mj-ea"/>
              </a:rPr>
            </a:br>
            <a:r>
              <a:rPr lang="hu-HU" sz="1600" i="1" dirty="0" smtClean="0">
                <a:ea typeface="+mj-ea"/>
              </a:rPr>
              <a:t>Erőmű alig látható</a:t>
            </a:r>
            <a:r>
              <a:rPr lang="de-DE" sz="1600" i="1" dirty="0" smtClean="0"/>
              <a:t>, </a:t>
            </a:r>
            <a:r>
              <a:rPr lang="hu-HU" sz="1600" i="1" dirty="0" smtClean="0"/>
              <a:t>alacsony  területfelhasználás</a:t>
            </a:r>
            <a:r>
              <a:rPr lang="de-DE" dirty="0" smtClean="0"/>
              <a:t> </a:t>
            </a:r>
            <a:r>
              <a:rPr lang="de-DE" dirty="0" smtClean="0">
                <a:ea typeface="+mj-ea"/>
              </a:rPr>
              <a:t/>
            </a:r>
            <a:br>
              <a:rPr lang="de-DE" dirty="0" smtClean="0">
                <a:ea typeface="+mj-ea"/>
              </a:rPr>
            </a:br>
            <a:endParaRPr lang="de-DE" dirty="0" smtClean="0">
              <a:ea typeface="+mj-ea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25600455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eck 9"/>
          <p:cNvSpPr/>
          <p:nvPr/>
        </p:nvSpPr>
        <p:spPr bwMode="auto">
          <a:xfrm>
            <a:off x="7704138" y="1239838"/>
            <a:ext cx="1439862" cy="5618162"/>
          </a:xfrm>
          <a:prstGeom prst="rect">
            <a:avLst/>
          </a:prstGeom>
          <a:solidFill>
            <a:schemeClr val="accent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36000" tIns="0" bIns="0" anchor="b">
            <a:spAutoFit/>
          </a:bodyPr>
          <a:lstStyle/>
          <a:p>
            <a:pPr>
              <a:defRPr/>
            </a:pPr>
            <a:endParaRPr lang="de-DE"/>
          </a:p>
        </p:txBody>
      </p:sp>
      <p:sp>
        <p:nvSpPr>
          <p:cNvPr id="8" name="Foliennummernplatzhalter 1"/>
          <p:cNvSpPr txBox="1">
            <a:spLocks noGrp="1"/>
          </p:cNvSpPr>
          <p:nvPr/>
        </p:nvSpPr>
        <p:spPr bwMode="auto">
          <a:xfrm>
            <a:off x="358775" y="6477000"/>
            <a:ext cx="360363" cy="252413"/>
          </a:xfrm>
          <a:prstGeom prst="rect">
            <a:avLst/>
          </a:prstGeom>
          <a:noFill/>
          <a:extLst/>
        </p:spPr>
        <p:txBody>
          <a:bodyPr lIns="0" tIns="0" rIns="0" bIns="0"/>
          <a:lstStyle/>
          <a:p>
            <a:pPr>
              <a:lnSpc>
                <a:spcPct val="100000"/>
              </a:lnSpc>
              <a:spcBef>
                <a:spcPct val="0"/>
              </a:spcBef>
              <a:defRPr/>
            </a:pPr>
            <a:fld id="{A8BB6A15-EF30-43A2-BF76-EA5BD7F006DB}" type="slidenum">
              <a:rPr lang="de-DE" sz="1200">
                <a:solidFill>
                  <a:srgbClr val="999999"/>
                </a:solidFill>
                <a:latin typeface="+mn-lt"/>
              </a:rPr>
              <a:pPr>
                <a:lnSpc>
                  <a:spcPct val="100000"/>
                </a:lnSpc>
                <a:spcBef>
                  <a:spcPct val="0"/>
                </a:spcBef>
                <a:defRPr/>
              </a:pPr>
              <a:t>11</a:t>
            </a:fld>
            <a:r>
              <a:rPr lang="de-DE" sz="1200">
                <a:solidFill>
                  <a:srgbClr val="999999"/>
                </a:solidFill>
                <a:latin typeface="+mn-lt"/>
              </a:rPr>
              <a:t> </a:t>
            </a:r>
            <a:endParaRPr lang="de-DE">
              <a:solidFill>
                <a:srgbClr val="B3B3B3"/>
              </a:solidFill>
              <a:latin typeface="Times" pitchFamily="18" charset="0"/>
            </a:endParaRPr>
          </a:p>
        </p:txBody>
      </p:sp>
      <p:sp>
        <p:nvSpPr>
          <p:cNvPr id="37892" name="Foliennummernplatzhalter 5"/>
          <p:cNvSpPr txBox="1">
            <a:spLocks noGrp="1"/>
          </p:cNvSpPr>
          <p:nvPr/>
        </p:nvSpPr>
        <p:spPr bwMode="auto">
          <a:xfrm>
            <a:off x="358775" y="6477000"/>
            <a:ext cx="360363" cy="25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 sz="1400">
                <a:solidFill>
                  <a:srgbClr val="000099"/>
                </a:solidFill>
                <a:latin typeface="DIN-Regular" pitchFamily="34" charset="0"/>
              </a:defRPr>
            </a:lvl1pPr>
            <a:lvl2pPr marL="742950" indent="-285750">
              <a:defRPr sz="1400">
                <a:solidFill>
                  <a:srgbClr val="000099"/>
                </a:solidFill>
                <a:latin typeface="DIN-Regular" pitchFamily="34" charset="0"/>
              </a:defRPr>
            </a:lvl2pPr>
            <a:lvl3pPr marL="1143000" indent="-228600">
              <a:defRPr sz="1400">
                <a:solidFill>
                  <a:srgbClr val="000099"/>
                </a:solidFill>
                <a:latin typeface="DIN-Regular" pitchFamily="34" charset="0"/>
              </a:defRPr>
            </a:lvl3pPr>
            <a:lvl4pPr marL="1600200" indent="-228600">
              <a:defRPr sz="1400">
                <a:solidFill>
                  <a:srgbClr val="000099"/>
                </a:solidFill>
                <a:latin typeface="DIN-Regular" pitchFamily="34" charset="0"/>
              </a:defRPr>
            </a:lvl4pPr>
            <a:lvl5pPr marL="2057400" indent="-228600">
              <a:defRPr sz="1400">
                <a:solidFill>
                  <a:srgbClr val="000099"/>
                </a:solidFill>
                <a:latin typeface="DIN-Regular" pitchFamily="34" charset="0"/>
              </a:defRPr>
            </a:lvl5pPr>
            <a:lvl6pPr marL="25146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1400">
                <a:solidFill>
                  <a:srgbClr val="000099"/>
                </a:solidFill>
                <a:latin typeface="DIN-Regular" pitchFamily="34" charset="0"/>
              </a:defRPr>
            </a:lvl6pPr>
            <a:lvl7pPr marL="29718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1400">
                <a:solidFill>
                  <a:srgbClr val="000099"/>
                </a:solidFill>
                <a:latin typeface="DIN-Regular" pitchFamily="34" charset="0"/>
              </a:defRPr>
            </a:lvl7pPr>
            <a:lvl8pPr marL="34290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1400">
                <a:solidFill>
                  <a:srgbClr val="000099"/>
                </a:solidFill>
                <a:latin typeface="DIN-Regular" pitchFamily="34" charset="0"/>
              </a:defRPr>
            </a:lvl8pPr>
            <a:lvl9pPr marL="38862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1400">
                <a:solidFill>
                  <a:srgbClr val="000099"/>
                </a:solidFill>
                <a:latin typeface="DIN-Regular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</a:pPr>
            <a:fld id="{8AEC5841-766D-40B8-9DE3-0668A99A9939}" type="slidenum">
              <a:rPr lang="en-US" sz="1200">
                <a:solidFill>
                  <a:srgbClr val="999999"/>
                </a:solidFill>
                <a:latin typeface="DIN-Light" pitchFamily="34" charset="0"/>
              </a:rPr>
              <a:pPr>
                <a:lnSpc>
                  <a:spcPct val="100000"/>
                </a:lnSpc>
                <a:spcBef>
                  <a:spcPct val="0"/>
                </a:spcBef>
              </a:pPr>
              <a:t>11</a:t>
            </a:fld>
            <a:r>
              <a:rPr lang="en-US" sz="1200">
                <a:solidFill>
                  <a:srgbClr val="999999"/>
                </a:solidFill>
                <a:latin typeface="DIN-Light" pitchFamily="34" charset="0"/>
              </a:rPr>
              <a:t> </a:t>
            </a:r>
          </a:p>
        </p:txBody>
      </p:sp>
      <p:sp>
        <p:nvSpPr>
          <p:cNvPr id="37894" name="Rectangle 3"/>
          <p:cNvSpPr>
            <a:spLocks noChangeAspect="1" noChangeArrowheads="1"/>
          </p:cNvSpPr>
          <p:nvPr/>
        </p:nvSpPr>
        <p:spPr bwMode="auto">
          <a:xfrm>
            <a:off x="528638" y="482600"/>
            <a:ext cx="6478587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de-DE" sz="2000">
                <a:latin typeface="DIN-Medium" pitchFamily="34" charset="0"/>
              </a:rPr>
              <a:t>Geologie in Bruchsal</a:t>
            </a:r>
          </a:p>
        </p:txBody>
      </p:sp>
      <p:sp>
        <p:nvSpPr>
          <p:cNvPr id="13" name="Text Box 3"/>
          <p:cNvSpPr txBox="1">
            <a:spLocks noChangeArrowheads="1"/>
          </p:cNvSpPr>
          <p:nvPr/>
        </p:nvSpPr>
        <p:spPr bwMode="auto">
          <a:xfrm>
            <a:off x="6346825" y="6434138"/>
            <a:ext cx="2016125" cy="2016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46800">
            <a:spAutoFit/>
          </a:bodyPr>
          <a:lstStyle>
            <a:lvl1pPr>
              <a:defRPr sz="1400">
                <a:solidFill>
                  <a:srgbClr val="000099"/>
                </a:solidFill>
                <a:latin typeface="DIN-Regular" pitchFamily="34" charset="0"/>
              </a:defRPr>
            </a:lvl1pPr>
            <a:lvl2pPr marL="742950" indent="-285750">
              <a:defRPr sz="1400">
                <a:solidFill>
                  <a:srgbClr val="000099"/>
                </a:solidFill>
                <a:latin typeface="DIN-Regular" pitchFamily="34" charset="0"/>
              </a:defRPr>
            </a:lvl2pPr>
            <a:lvl3pPr marL="1143000" indent="-228600">
              <a:defRPr sz="1400">
                <a:solidFill>
                  <a:srgbClr val="000099"/>
                </a:solidFill>
                <a:latin typeface="DIN-Regular" pitchFamily="34" charset="0"/>
              </a:defRPr>
            </a:lvl3pPr>
            <a:lvl4pPr marL="1600200" indent="-228600">
              <a:defRPr sz="1400">
                <a:solidFill>
                  <a:srgbClr val="000099"/>
                </a:solidFill>
                <a:latin typeface="DIN-Regular" pitchFamily="34" charset="0"/>
              </a:defRPr>
            </a:lvl4pPr>
            <a:lvl5pPr marL="2057400" indent="-228600">
              <a:defRPr sz="1400">
                <a:solidFill>
                  <a:srgbClr val="000099"/>
                </a:solidFill>
                <a:latin typeface="DIN-Regular" pitchFamily="34" charset="0"/>
              </a:defRPr>
            </a:lvl5pPr>
            <a:lvl6pPr marL="25146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1400">
                <a:solidFill>
                  <a:srgbClr val="000099"/>
                </a:solidFill>
                <a:latin typeface="DIN-Regular" pitchFamily="34" charset="0"/>
              </a:defRPr>
            </a:lvl6pPr>
            <a:lvl7pPr marL="29718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1400">
                <a:solidFill>
                  <a:srgbClr val="000099"/>
                </a:solidFill>
                <a:latin typeface="DIN-Regular" pitchFamily="34" charset="0"/>
              </a:defRPr>
            </a:lvl7pPr>
            <a:lvl8pPr marL="34290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1400">
                <a:solidFill>
                  <a:srgbClr val="000099"/>
                </a:solidFill>
                <a:latin typeface="DIN-Regular" pitchFamily="34" charset="0"/>
              </a:defRPr>
            </a:lvl8pPr>
            <a:lvl9pPr marL="38862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1400">
                <a:solidFill>
                  <a:srgbClr val="000099"/>
                </a:solidFill>
                <a:latin typeface="DIN-Regular" pitchFamily="34" charset="0"/>
              </a:defRPr>
            </a:lvl9pPr>
          </a:lstStyle>
          <a:p>
            <a:pPr algn="r">
              <a:lnSpc>
                <a:spcPct val="100000"/>
              </a:lnSpc>
              <a:spcBef>
                <a:spcPct val="0"/>
              </a:spcBef>
            </a:pPr>
            <a:r>
              <a:rPr lang="en-GB" sz="1000">
                <a:solidFill>
                  <a:srgbClr val="979797"/>
                </a:solidFill>
              </a:rPr>
              <a:t>Ref: Meixner 2010</a:t>
            </a:r>
          </a:p>
        </p:txBody>
      </p:sp>
      <p:pic>
        <p:nvPicPr>
          <p:cNvPr id="14" name="Picture 13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92125" y="2089150"/>
            <a:ext cx="8108950" cy="4297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extfeld 11"/>
          <p:cNvSpPr txBox="1">
            <a:spLocks noChangeArrowheads="1"/>
          </p:cNvSpPr>
          <p:nvPr/>
        </p:nvSpPr>
        <p:spPr bwMode="auto">
          <a:xfrm>
            <a:off x="444500" y="1973263"/>
            <a:ext cx="581025" cy="373062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1400">
                <a:solidFill>
                  <a:srgbClr val="000099"/>
                </a:solidFill>
                <a:latin typeface="DIN-Regular" pitchFamily="34" charset="0"/>
              </a:defRPr>
            </a:lvl1pPr>
            <a:lvl2pPr marL="742950" indent="-285750">
              <a:defRPr sz="1400">
                <a:solidFill>
                  <a:srgbClr val="000099"/>
                </a:solidFill>
                <a:latin typeface="DIN-Regular" pitchFamily="34" charset="0"/>
              </a:defRPr>
            </a:lvl2pPr>
            <a:lvl3pPr marL="1143000" indent="-228600">
              <a:defRPr sz="1400">
                <a:solidFill>
                  <a:srgbClr val="000099"/>
                </a:solidFill>
                <a:latin typeface="DIN-Regular" pitchFamily="34" charset="0"/>
              </a:defRPr>
            </a:lvl3pPr>
            <a:lvl4pPr marL="1600200" indent="-228600">
              <a:defRPr sz="1400">
                <a:solidFill>
                  <a:srgbClr val="000099"/>
                </a:solidFill>
                <a:latin typeface="DIN-Regular" pitchFamily="34" charset="0"/>
              </a:defRPr>
            </a:lvl4pPr>
            <a:lvl5pPr marL="2057400" indent="-228600">
              <a:defRPr sz="1400">
                <a:solidFill>
                  <a:srgbClr val="000099"/>
                </a:solidFill>
                <a:latin typeface="DIN-Regular" pitchFamily="34" charset="0"/>
              </a:defRPr>
            </a:lvl5pPr>
            <a:lvl6pPr marL="25146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1400">
                <a:solidFill>
                  <a:srgbClr val="000099"/>
                </a:solidFill>
                <a:latin typeface="DIN-Regular" pitchFamily="34" charset="0"/>
              </a:defRPr>
            </a:lvl6pPr>
            <a:lvl7pPr marL="29718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1400">
                <a:solidFill>
                  <a:srgbClr val="000099"/>
                </a:solidFill>
                <a:latin typeface="DIN-Regular" pitchFamily="34" charset="0"/>
              </a:defRPr>
            </a:lvl7pPr>
            <a:lvl8pPr marL="34290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1400">
                <a:solidFill>
                  <a:srgbClr val="000099"/>
                </a:solidFill>
                <a:latin typeface="DIN-Regular" pitchFamily="34" charset="0"/>
              </a:defRPr>
            </a:lvl8pPr>
            <a:lvl9pPr marL="38862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1400">
                <a:solidFill>
                  <a:srgbClr val="000099"/>
                </a:solidFill>
                <a:latin typeface="DIN-Regular" pitchFamily="34" charset="0"/>
              </a:defRPr>
            </a:lvl9pPr>
          </a:lstStyle>
          <a:p>
            <a:r>
              <a:rPr lang="de-DE" sz="1800">
                <a:solidFill>
                  <a:srgbClr val="FFC000"/>
                </a:solidFill>
              </a:rPr>
              <a:t>A</a:t>
            </a:r>
          </a:p>
        </p:txBody>
      </p:sp>
      <p:sp>
        <p:nvSpPr>
          <p:cNvPr id="16" name="Textfeld 12"/>
          <p:cNvSpPr txBox="1">
            <a:spLocks noChangeArrowheads="1"/>
          </p:cNvSpPr>
          <p:nvPr/>
        </p:nvSpPr>
        <p:spPr bwMode="auto">
          <a:xfrm>
            <a:off x="7808913" y="1973263"/>
            <a:ext cx="581025" cy="373062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1400">
                <a:solidFill>
                  <a:srgbClr val="000099"/>
                </a:solidFill>
                <a:latin typeface="DIN-Regular" pitchFamily="34" charset="0"/>
              </a:defRPr>
            </a:lvl1pPr>
            <a:lvl2pPr marL="742950" indent="-285750">
              <a:defRPr sz="1400">
                <a:solidFill>
                  <a:srgbClr val="000099"/>
                </a:solidFill>
                <a:latin typeface="DIN-Regular" pitchFamily="34" charset="0"/>
              </a:defRPr>
            </a:lvl2pPr>
            <a:lvl3pPr marL="1143000" indent="-228600">
              <a:defRPr sz="1400">
                <a:solidFill>
                  <a:srgbClr val="000099"/>
                </a:solidFill>
                <a:latin typeface="DIN-Regular" pitchFamily="34" charset="0"/>
              </a:defRPr>
            </a:lvl3pPr>
            <a:lvl4pPr marL="1600200" indent="-228600">
              <a:defRPr sz="1400">
                <a:solidFill>
                  <a:srgbClr val="000099"/>
                </a:solidFill>
                <a:latin typeface="DIN-Regular" pitchFamily="34" charset="0"/>
              </a:defRPr>
            </a:lvl4pPr>
            <a:lvl5pPr marL="2057400" indent="-228600">
              <a:defRPr sz="1400">
                <a:solidFill>
                  <a:srgbClr val="000099"/>
                </a:solidFill>
                <a:latin typeface="DIN-Regular" pitchFamily="34" charset="0"/>
              </a:defRPr>
            </a:lvl5pPr>
            <a:lvl6pPr marL="25146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1400">
                <a:solidFill>
                  <a:srgbClr val="000099"/>
                </a:solidFill>
                <a:latin typeface="DIN-Regular" pitchFamily="34" charset="0"/>
              </a:defRPr>
            </a:lvl6pPr>
            <a:lvl7pPr marL="29718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1400">
                <a:solidFill>
                  <a:srgbClr val="000099"/>
                </a:solidFill>
                <a:latin typeface="DIN-Regular" pitchFamily="34" charset="0"/>
              </a:defRPr>
            </a:lvl7pPr>
            <a:lvl8pPr marL="34290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1400">
                <a:solidFill>
                  <a:srgbClr val="000099"/>
                </a:solidFill>
                <a:latin typeface="DIN-Regular" pitchFamily="34" charset="0"/>
              </a:defRPr>
            </a:lvl8pPr>
            <a:lvl9pPr marL="38862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1400">
                <a:solidFill>
                  <a:srgbClr val="000099"/>
                </a:solidFill>
                <a:latin typeface="DIN-Regular" pitchFamily="34" charset="0"/>
              </a:defRPr>
            </a:lvl9pPr>
          </a:lstStyle>
          <a:p>
            <a:pPr algn="r"/>
            <a:r>
              <a:rPr lang="de-DE" sz="1800">
                <a:solidFill>
                  <a:srgbClr val="FFC000"/>
                </a:solidFill>
              </a:rPr>
              <a:t>A‘</a:t>
            </a:r>
          </a:p>
        </p:txBody>
      </p:sp>
      <p:sp>
        <p:nvSpPr>
          <p:cNvPr id="17" name="Rechteck 19"/>
          <p:cNvSpPr>
            <a:spLocks noChangeArrowheads="1"/>
          </p:cNvSpPr>
          <p:nvPr/>
        </p:nvSpPr>
        <p:spPr bwMode="auto">
          <a:xfrm rot="16800000">
            <a:off x="3914776" y="4837112"/>
            <a:ext cx="912812" cy="373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r>
              <a:rPr lang="de-DE" sz="1800">
                <a:solidFill>
                  <a:schemeClr val="bg1"/>
                </a:solidFill>
              </a:rPr>
              <a:t>Active?</a:t>
            </a:r>
            <a:endParaRPr lang="de-DE">
              <a:solidFill>
                <a:schemeClr val="bg1"/>
              </a:solidFill>
            </a:endParaRPr>
          </a:p>
        </p:txBody>
      </p:sp>
      <p:sp>
        <p:nvSpPr>
          <p:cNvPr id="18" name="Rechteck 20"/>
          <p:cNvSpPr>
            <a:spLocks noChangeArrowheads="1"/>
          </p:cNvSpPr>
          <p:nvPr/>
        </p:nvSpPr>
        <p:spPr bwMode="auto">
          <a:xfrm rot="16800000">
            <a:off x="904876" y="3351212"/>
            <a:ext cx="912812" cy="373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r>
              <a:rPr lang="de-DE" sz="1800">
                <a:solidFill>
                  <a:schemeClr val="bg1"/>
                </a:solidFill>
              </a:rPr>
              <a:t>Active?</a:t>
            </a:r>
            <a:endParaRPr lang="de-DE">
              <a:solidFill>
                <a:schemeClr val="bg1"/>
              </a:solidFill>
            </a:endParaRPr>
          </a:p>
        </p:txBody>
      </p:sp>
      <p:sp>
        <p:nvSpPr>
          <p:cNvPr id="19" name="Rechteck 21"/>
          <p:cNvSpPr>
            <a:spLocks noChangeArrowheads="1"/>
          </p:cNvSpPr>
          <p:nvPr/>
        </p:nvSpPr>
        <p:spPr bwMode="auto">
          <a:xfrm>
            <a:off x="5183188" y="4756150"/>
            <a:ext cx="1441420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r>
              <a:rPr lang="hu-HU" dirty="0" smtClean="0">
                <a:solidFill>
                  <a:srgbClr val="000099"/>
                </a:solidFill>
              </a:rPr>
              <a:t>3. víztároló</a:t>
            </a:r>
            <a:r>
              <a:rPr lang="de-DE" sz="1800" dirty="0" smtClean="0">
                <a:solidFill>
                  <a:srgbClr val="000099"/>
                </a:solidFill>
              </a:rPr>
              <a:t>?</a:t>
            </a:r>
            <a:endParaRPr lang="de-DE" dirty="0">
              <a:solidFill>
                <a:srgbClr val="000099"/>
              </a:solidFill>
            </a:endParaRPr>
          </a:p>
        </p:txBody>
      </p:sp>
      <p:sp>
        <p:nvSpPr>
          <p:cNvPr id="20" name="Rechteck 22"/>
          <p:cNvSpPr>
            <a:spLocks noChangeArrowheads="1"/>
          </p:cNvSpPr>
          <p:nvPr/>
        </p:nvSpPr>
        <p:spPr bwMode="auto">
          <a:xfrm>
            <a:off x="5183188" y="4213225"/>
            <a:ext cx="1441420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r>
              <a:rPr lang="hu-HU" dirty="0" smtClean="0">
                <a:solidFill>
                  <a:srgbClr val="000099"/>
                </a:solidFill>
              </a:rPr>
              <a:t>2. víztároló</a:t>
            </a:r>
            <a:r>
              <a:rPr lang="de-DE" sz="1800" dirty="0" smtClean="0">
                <a:solidFill>
                  <a:srgbClr val="000099"/>
                </a:solidFill>
              </a:rPr>
              <a:t>?</a:t>
            </a:r>
            <a:endParaRPr lang="de-DE" dirty="0">
              <a:solidFill>
                <a:srgbClr val="000099"/>
              </a:solidFill>
            </a:endParaRPr>
          </a:p>
        </p:txBody>
      </p:sp>
      <p:sp>
        <p:nvSpPr>
          <p:cNvPr id="21" name="Rechteck 23"/>
          <p:cNvSpPr>
            <a:spLocks noChangeArrowheads="1"/>
          </p:cNvSpPr>
          <p:nvPr/>
        </p:nvSpPr>
        <p:spPr bwMode="auto">
          <a:xfrm>
            <a:off x="2020888" y="4156075"/>
            <a:ext cx="800100" cy="371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r>
              <a:rPr lang="de-DE" sz="1800" dirty="0">
                <a:solidFill>
                  <a:schemeClr val="bg1"/>
                </a:solidFill>
              </a:rPr>
              <a:t>134°C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22" name="Rechteck 24"/>
          <p:cNvSpPr>
            <a:spLocks noChangeArrowheads="1"/>
          </p:cNvSpPr>
          <p:nvPr/>
        </p:nvSpPr>
        <p:spPr bwMode="auto">
          <a:xfrm>
            <a:off x="6545263" y="3546475"/>
            <a:ext cx="800100" cy="371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r>
              <a:rPr lang="de-DE" sz="1800">
                <a:solidFill>
                  <a:schemeClr val="bg1"/>
                </a:solidFill>
              </a:rPr>
              <a:t>120°C</a:t>
            </a:r>
            <a:endParaRPr lang="de-DE">
              <a:solidFill>
                <a:schemeClr val="bg1"/>
              </a:solidFill>
            </a:endParaRPr>
          </a:p>
        </p:txBody>
      </p:sp>
      <p:sp>
        <p:nvSpPr>
          <p:cNvPr id="23" name="Titel 1"/>
          <p:cNvSpPr txBox="1">
            <a:spLocks/>
          </p:cNvSpPr>
          <p:nvPr/>
        </p:nvSpPr>
        <p:spPr bwMode="auto">
          <a:xfrm>
            <a:off x="584200" y="547688"/>
            <a:ext cx="6940550" cy="1152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2000">
                <a:solidFill>
                  <a:srgbClr val="000099"/>
                </a:solidFill>
                <a:latin typeface="+mj-lt"/>
                <a:ea typeface="Lucida Sans Unicode" pitchFamily="34" charset="0"/>
                <a:cs typeface="+mj-cs"/>
              </a:defRPr>
            </a:lvl1pPr>
            <a:lvl2pPr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2000">
                <a:solidFill>
                  <a:srgbClr val="000099"/>
                </a:solidFill>
                <a:latin typeface="DIN-Medium" pitchFamily="34" charset="0"/>
                <a:ea typeface="Lucida Sans Unicode" pitchFamily="34" charset="0"/>
                <a:cs typeface="Lucida Sans Unicode" pitchFamily="34" charset="0"/>
              </a:defRPr>
            </a:lvl2pPr>
            <a:lvl3pPr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2000">
                <a:solidFill>
                  <a:srgbClr val="000099"/>
                </a:solidFill>
                <a:latin typeface="DIN-Medium" pitchFamily="34" charset="0"/>
                <a:ea typeface="Lucida Sans Unicode" pitchFamily="34" charset="0"/>
                <a:cs typeface="Lucida Sans Unicode" pitchFamily="34" charset="0"/>
              </a:defRPr>
            </a:lvl3pPr>
            <a:lvl4pPr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2000">
                <a:solidFill>
                  <a:srgbClr val="000099"/>
                </a:solidFill>
                <a:latin typeface="DIN-Medium" pitchFamily="34" charset="0"/>
                <a:ea typeface="Lucida Sans Unicode" pitchFamily="34" charset="0"/>
                <a:cs typeface="Lucida Sans Unicode" pitchFamily="34" charset="0"/>
              </a:defRPr>
            </a:lvl4pPr>
            <a:lvl5pPr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2000">
                <a:solidFill>
                  <a:srgbClr val="000099"/>
                </a:solidFill>
                <a:latin typeface="DIN-Medium" pitchFamily="34" charset="0"/>
                <a:ea typeface="Lucida Sans Unicode" pitchFamily="34" charset="0"/>
                <a:cs typeface="Lucida Sans Unicode" pitchFamily="34" charset="0"/>
              </a:defRPr>
            </a:lvl5pPr>
            <a:lvl6pPr marL="2514600" indent="-228600" algn="l" defTabSz="449263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2000">
                <a:solidFill>
                  <a:srgbClr val="000099"/>
                </a:solidFill>
                <a:latin typeface="DIN-Medium" pitchFamily="34" charset="0"/>
                <a:cs typeface="Lucida Sans Unicode" pitchFamily="34" charset="0"/>
              </a:defRPr>
            </a:lvl6pPr>
            <a:lvl7pPr marL="2971800" indent="-228600" algn="l" defTabSz="449263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2000">
                <a:solidFill>
                  <a:srgbClr val="000099"/>
                </a:solidFill>
                <a:latin typeface="DIN-Medium" pitchFamily="34" charset="0"/>
                <a:cs typeface="Lucida Sans Unicode" pitchFamily="34" charset="0"/>
              </a:defRPr>
            </a:lvl7pPr>
            <a:lvl8pPr marL="3429000" indent="-228600" algn="l" defTabSz="449263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2000">
                <a:solidFill>
                  <a:srgbClr val="000099"/>
                </a:solidFill>
                <a:latin typeface="DIN-Medium" pitchFamily="34" charset="0"/>
                <a:cs typeface="Lucida Sans Unicode" pitchFamily="34" charset="0"/>
              </a:defRPr>
            </a:lvl8pPr>
            <a:lvl9pPr marL="3886200" indent="-228600" algn="l" defTabSz="449263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2000">
                <a:solidFill>
                  <a:srgbClr val="000099"/>
                </a:solidFill>
                <a:latin typeface="DIN-Medium" pitchFamily="34" charset="0"/>
                <a:cs typeface="Lucida Sans Unicode" pitchFamily="34" charset="0"/>
              </a:defRPr>
            </a:lvl9pPr>
          </a:lstStyle>
          <a:p>
            <a:pPr>
              <a:defRPr/>
            </a:pPr>
            <a:r>
              <a:rPr lang="hu-HU" sz="2400" dirty="0" smtClean="0">
                <a:ea typeface="+mj-ea"/>
              </a:rPr>
              <a:t>Termálvíztározó</a:t>
            </a:r>
            <a:r>
              <a:rPr lang="de-DE" sz="2400" dirty="0" smtClean="0">
                <a:ea typeface="+mj-ea"/>
              </a:rPr>
              <a:t/>
            </a:r>
            <a:br>
              <a:rPr lang="de-DE" sz="2400" dirty="0" smtClean="0">
                <a:ea typeface="+mj-ea"/>
              </a:rPr>
            </a:br>
            <a:r>
              <a:rPr lang="hu-HU" sz="1600" i="1" dirty="0" smtClean="0"/>
              <a:t> Nagyobb mélységben további forróvíz készletre számíthatunk </a:t>
            </a:r>
            <a:r>
              <a:rPr lang="de-DE" dirty="0" smtClean="0"/>
              <a:t> </a:t>
            </a:r>
            <a:r>
              <a:rPr lang="de-DE" dirty="0" smtClean="0">
                <a:ea typeface="+mj-ea"/>
              </a:rPr>
              <a:t/>
            </a:r>
            <a:br>
              <a:rPr lang="de-DE" dirty="0" smtClean="0">
                <a:ea typeface="+mj-ea"/>
              </a:rPr>
            </a:br>
            <a:endParaRPr lang="de-DE" dirty="0" smtClean="0">
              <a:ea typeface="+mj-ea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18659637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liennummernplatzhalter 1"/>
          <p:cNvSpPr txBox="1">
            <a:spLocks noGrp="1"/>
          </p:cNvSpPr>
          <p:nvPr/>
        </p:nvSpPr>
        <p:spPr bwMode="auto">
          <a:xfrm>
            <a:off x="358775" y="6477000"/>
            <a:ext cx="360363" cy="252413"/>
          </a:xfrm>
          <a:prstGeom prst="rect">
            <a:avLst/>
          </a:prstGeom>
          <a:noFill/>
          <a:extLst/>
        </p:spPr>
        <p:txBody>
          <a:bodyPr lIns="0" tIns="0" rIns="0" bIns="0"/>
          <a:lstStyle/>
          <a:p>
            <a:pPr>
              <a:lnSpc>
                <a:spcPct val="100000"/>
              </a:lnSpc>
              <a:spcBef>
                <a:spcPct val="0"/>
              </a:spcBef>
              <a:defRPr/>
            </a:pPr>
            <a:fld id="{C7B839ED-4221-4C42-A812-D2C34C7BD573}" type="slidenum">
              <a:rPr lang="de-DE" sz="1200">
                <a:solidFill>
                  <a:srgbClr val="999999"/>
                </a:solidFill>
                <a:latin typeface="+mn-lt"/>
              </a:rPr>
              <a:pPr>
                <a:lnSpc>
                  <a:spcPct val="100000"/>
                </a:lnSpc>
                <a:spcBef>
                  <a:spcPct val="0"/>
                </a:spcBef>
                <a:defRPr/>
              </a:pPr>
              <a:t>12</a:t>
            </a:fld>
            <a:r>
              <a:rPr lang="de-DE" sz="1200">
                <a:solidFill>
                  <a:srgbClr val="999999"/>
                </a:solidFill>
                <a:latin typeface="+mn-lt"/>
              </a:rPr>
              <a:t> </a:t>
            </a:r>
            <a:endParaRPr lang="de-DE">
              <a:solidFill>
                <a:srgbClr val="B3B3B3"/>
              </a:solidFill>
              <a:latin typeface="Times" pitchFamily="18" charset="0"/>
            </a:endParaRPr>
          </a:p>
        </p:txBody>
      </p:sp>
      <p:sp>
        <p:nvSpPr>
          <p:cNvPr id="38915" name="Foliennummernplatzhalter 5"/>
          <p:cNvSpPr txBox="1">
            <a:spLocks noGrp="1"/>
          </p:cNvSpPr>
          <p:nvPr/>
        </p:nvSpPr>
        <p:spPr bwMode="auto">
          <a:xfrm>
            <a:off x="358775" y="6477000"/>
            <a:ext cx="360363" cy="25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 sz="1400">
                <a:solidFill>
                  <a:srgbClr val="000099"/>
                </a:solidFill>
                <a:latin typeface="DIN-Regular" pitchFamily="34" charset="0"/>
              </a:defRPr>
            </a:lvl1pPr>
            <a:lvl2pPr marL="742950" indent="-285750">
              <a:defRPr sz="1400">
                <a:solidFill>
                  <a:srgbClr val="000099"/>
                </a:solidFill>
                <a:latin typeface="DIN-Regular" pitchFamily="34" charset="0"/>
              </a:defRPr>
            </a:lvl2pPr>
            <a:lvl3pPr marL="1143000" indent="-228600">
              <a:defRPr sz="1400">
                <a:solidFill>
                  <a:srgbClr val="000099"/>
                </a:solidFill>
                <a:latin typeface="DIN-Regular" pitchFamily="34" charset="0"/>
              </a:defRPr>
            </a:lvl3pPr>
            <a:lvl4pPr marL="1600200" indent="-228600">
              <a:defRPr sz="1400">
                <a:solidFill>
                  <a:srgbClr val="000099"/>
                </a:solidFill>
                <a:latin typeface="DIN-Regular" pitchFamily="34" charset="0"/>
              </a:defRPr>
            </a:lvl4pPr>
            <a:lvl5pPr marL="2057400" indent="-228600">
              <a:defRPr sz="1400">
                <a:solidFill>
                  <a:srgbClr val="000099"/>
                </a:solidFill>
                <a:latin typeface="DIN-Regular" pitchFamily="34" charset="0"/>
              </a:defRPr>
            </a:lvl5pPr>
            <a:lvl6pPr marL="25146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1400">
                <a:solidFill>
                  <a:srgbClr val="000099"/>
                </a:solidFill>
                <a:latin typeface="DIN-Regular" pitchFamily="34" charset="0"/>
              </a:defRPr>
            </a:lvl6pPr>
            <a:lvl7pPr marL="29718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1400">
                <a:solidFill>
                  <a:srgbClr val="000099"/>
                </a:solidFill>
                <a:latin typeface="DIN-Regular" pitchFamily="34" charset="0"/>
              </a:defRPr>
            </a:lvl7pPr>
            <a:lvl8pPr marL="34290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1400">
                <a:solidFill>
                  <a:srgbClr val="000099"/>
                </a:solidFill>
                <a:latin typeface="DIN-Regular" pitchFamily="34" charset="0"/>
              </a:defRPr>
            </a:lvl8pPr>
            <a:lvl9pPr marL="38862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1400">
                <a:solidFill>
                  <a:srgbClr val="000099"/>
                </a:solidFill>
                <a:latin typeface="DIN-Regular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</a:pPr>
            <a:fld id="{39C2DC7E-BB65-4CDD-824B-B15E1204976C}" type="slidenum">
              <a:rPr lang="en-US" sz="1200">
                <a:solidFill>
                  <a:srgbClr val="999999"/>
                </a:solidFill>
                <a:latin typeface="DIN-Light" pitchFamily="34" charset="0"/>
              </a:rPr>
              <a:pPr>
                <a:lnSpc>
                  <a:spcPct val="100000"/>
                </a:lnSpc>
                <a:spcBef>
                  <a:spcPct val="0"/>
                </a:spcBef>
              </a:pPr>
              <a:t>12</a:t>
            </a:fld>
            <a:r>
              <a:rPr lang="en-US" sz="1200">
                <a:solidFill>
                  <a:srgbClr val="999999"/>
                </a:solidFill>
                <a:latin typeface="DIN-Light" pitchFamily="34" charset="0"/>
              </a:rPr>
              <a:t> </a:t>
            </a:r>
          </a:p>
        </p:txBody>
      </p:sp>
      <p:pic>
        <p:nvPicPr>
          <p:cNvPr id="38916" name="Picture 8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214688" y="2852936"/>
            <a:ext cx="5000360" cy="37502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8917" name="Picture 9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95325" y="2852936"/>
            <a:ext cx="2822667" cy="37502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8918" name="Rectangle 11"/>
          <p:cNvSpPr>
            <a:spLocks noChangeArrowheads="1"/>
          </p:cNvSpPr>
          <p:nvPr/>
        </p:nvSpPr>
        <p:spPr bwMode="auto">
          <a:xfrm>
            <a:off x="644576" y="1807656"/>
            <a:ext cx="8507858" cy="7848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marL="177800" indent="-177800" eaLnBrk="1" hangingPunct="1">
              <a:lnSpc>
                <a:spcPct val="90000"/>
              </a:lnSpc>
              <a:spcBef>
                <a:spcPct val="70000"/>
              </a:spcBef>
              <a:buClr>
                <a:srgbClr val="F1A500"/>
              </a:buClr>
              <a:buSzPct val="135000"/>
              <a:buFontTx/>
              <a:buChar char="›"/>
            </a:pPr>
            <a:r>
              <a:rPr lang="hu-HU" dirty="0">
                <a:solidFill>
                  <a:srgbClr val="4D4D4D"/>
                </a:solidFill>
              </a:rPr>
              <a:t>K</a:t>
            </a:r>
            <a:r>
              <a:rPr lang="hu-HU" sz="1800" dirty="0" smtClean="0">
                <a:solidFill>
                  <a:srgbClr val="4D4D4D"/>
                </a:solidFill>
              </a:rPr>
              <a:t>ét geotermikus fúrás hidraulikus kapcsolásának felülvizsgálata</a:t>
            </a:r>
            <a:endParaRPr lang="de-DE" sz="1800" dirty="0">
              <a:solidFill>
                <a:srgbClr val="4D4D4D"/>
              </a:solidFill>
            </a:endParaRPr>
          </a:p>
          <a:p>
            <a:pPr marL="177800" indent="-177800" eaLnBrk="1" hangingPunct="1">
              <a:lnSpc>
                <a:spcPct val="90000"/>
              </a:lnSpc>
              <a:spcBef>
                <a:spcPct val="70000"/>
              </a:spcBef>
              <a:buClr>
                <a:srgbClr val="F1A500"/>
              </a:buClr>
              <a:buSzPct val="135000"/>
              <a:buFont typeface="DIN-Regular" pitchFamily="34" charset="0"/>
              <a:buChar char="›"/>
            </a:pPr>
            <a:r>
              <a:rPr lang="de-DE" sz="1800" dirty="0" smtClean="0">
                <a:solidFill>
                  <a:srgbClr val="4D4D4D"/>
                </a:solidFill>
              </a:rPr>
              <a:t>2 </a:t>
            </a:r>
            <a:r>
              <a:rPr lang="hu-HU" sz="1800" dirty="0" smtClean="0">
                <a:solidFill>
                  <a:srgbClr val="4D4D4D"/>
                </a:solidFill>
              </a:rPr>
              <a:t>különböző</a:t>
            </a:r>
            <a:r>
              <a:rPr lang="de-DE" sz="1800" dirty="0" smtClean="0">
                <a:solidFill>
                  <a:srgbClr val="4D4D4D"/>
                </a:solidFill>
              </a:rPr>
              <a:t> </a:t>
            </a:r>
            <a:r>
              <a:rPr lang="hu-HU" sz="1800" dirty="0" smtClean="0">
                <a:solidFill>
                  <a:srgbClr val="4D4D4D"/>
                </a:solidFill>
              </a:rPr>
              <a:t>fluoreszkáló nyomjelző bevetése</a:t>
            </a:r>
            <a:r>
              <a:rPr lang="hu-HU" dirty="0">
                <a:solidFill>
                  <a:srgbClr val="4D4D4D"/>
                </a:solidFill>
              </a:rPr>
              <a:t> </a:t>
            </a:r>
            <a:r>
              <a:rPr lang="hu-HU" dirty="0" smtClean="0">
                <a:solidFill>
                  <a:srgbClr val="4D4D4D"/>
                </a:solidFill>
              </a:rPr>
              <a:t>az injekciós fúrásoknál</a:t>
            </a:r>
            <a:endParaRPr lang="de-DE" sz="1800" dirty="0">
              <a:solidFill>
                <a:srgbClr val="4D4D4D"/>
              </a:solidFill>
            </a:endParaRPr>
          </a:p>
        </p:txBody>
      </p:sp>
      <p:sp>
        <p:nvSpPr>
          <p:cNvPr id="38919" name="Rectangle 3"/>
          <p:cNvSpPr>
            <a:spLocks noChangeAspect="1" noChangeArrowheads="1"/>
          </p:cNvSpPr>
          <p:nvPr/>
        </p:nvSpPr>
        <p:spPr bwMode="auto">
          <a:xfrm>
            <a:off x="528638" y="482600"/>
            <a:ext cx="6478587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de-DE" sz="2000">
                <a:latin typeface="DIN-Medium" pitchFamily="34" charset="0"/>
              </a:rPr>
              <a:t>Tracer Tests</a:t>
            </a:r>
          </a:p>
        </p:txBody>
      </p:sp>
      <p:sp>
        <p:nvSpPr>
          <p:cNvPr id="9" name="Titel 1"/>
          <p:cNvSpPr txBox="1">
            <a:spLocks/>
          </p:cNvSpPr>
          <p:nvPr/>
        </p:nvSpPr>
        <p:spPr bwMode="auto">
          <a:xfrm>
            <a:off x="584200" y="547688"/>
            <a:ext cx="6940550" cy="1152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2000">
                <a:solidFill>
                  <a:srgbClr val="000099"/>
                </a:solidFill>
                <a:latin typeface="+mj-lt"/>
                <a:ea typeface="Lucida Sans Unicode" pitchFamily="34" charset="0"/>
                <a:cs typeface="+mj-cs"/>
              </a:defRPr>
            </a:lvl1pPr>
            <a:lvl2pPr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2000">
                <a:solidFill>
                  <a:srgbClr val="000099"/>
                </a:solidFill>
                <a:latin typeface="DIN-Medium" pitchFamily="34" charset="0"/>
                <a:ea typeface="Lucida Sans Unicode" pitchFamily="34" charset="0"/>
                <a:cs typeface="Lucida Sans Unicode" pitchFamily="34" charset="0"/>
              </a:defRPr>
            </a:lvl2pPr>
            <a:lvl3pPr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2000">
                <a:solidFill>
                  <a:srgbClr val="000099"/>
                </a:solidFill>
                <a:latin typeface="DIN-Medium" pitchFamily="34" charset="0"/>
                <a:ea typeface="Lucida Sans Unicode" pitchFamily="34" charset="0"/>
                <a:cs typeface="Lucida Sans Unicode" pitchFamily="34" charset="0"/>
              </a:defRPr>
            </a:lvl3pPr>
            <a:lvl4pPr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2000">
                <a:solidFill>
                  <a:srgbClr val="000099"/>
                </a:solidFill>
                <a:latin typeface="DIN-Medium" pitchFamily="34" charset="0"/>
                <a:ea typeface="Lucida Sans Unicode" pitchFamily="34" charset="0"/>
                <a:cs typeface="Lucida Sans Unicode" pitchFamily="34" charset="0"/>
              </a:defRPr>
            </a:lvl4pPr>
            <a:lvl5pPr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2000">
                <a:solidFill>
                  <a:srgbClr val="000099"/>
                </a:solidFill>
                <a:latin typeface="DIN-Medium" pitchFamily="34" charset="0"/>
                <a:ea typeface="Lucida Sans Unicode" pitchFamily="34" charset="0"/>
                <a:cs typeface="Lucida Sans Unicode" pitchFamily="34" charset="0"/>
              </a:defRPr>
            </a:lvl5pPr>
            <a:lvl6pPr marL="2514600" indent="-228600" algn="l" defTabSz="449263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2000">
                <a:solidFill>
                  <a:srgbClr val="000099"/>
                </a:solidFill>
                <a:latin typeface="DIN-Medium" pitchFamily="34" charset="0"/>
                <a:cs typeface="Lucida Sans Unicode" pitchFamily="34" charset="0"/>
              </a:defRPr>
            </a:lvl6pPr>
            <a:lvl7pPr marL="2971800" indent="-228600" algn="l" defTabSz="449263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2000">
                <a:solidFill>
                  <a:srgbClr val="000099"/>
                </a:solidFill>
                <a:latin typeface="DIN-Medium" pitchFamily="34" charset="0"/>
                <a:cs typeface="Lucida Sans Unicode" pitchFamily="34" charset="0"/>
              </a:defRPr>
            </a:lvl7pPr>
            <a:lvl8pPr marL="3429000" indent="-228600" algn="l" defTabSz="449263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2000">
                <a:solidFill>
                  <a:srgbClr val="000099"/>
                </a:solidFill>
                <a:latin typeface="DIN-Medium" pitchFamily="34" charset="0"/>
                <a:cs typeface="Lucida Sans Unicode" pitchFamily="34" charset="0"/>
              </a:defRPr>
            </a:lvl8pPr>
            <a:lvl9pPr marL="3886200" indent="-228600" algn="l" defTabSz="449263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2000">
                <a:solidFill>
                  <a:srgbClr val="000099"/>
                </a:solidFill>
                <a:latin typeface="DIN-Medium" pitchFamily="34" charset="0"/>
                <a:cs typeface="Lucida Sans Unicode" pitchFamily="34" charset="0"/>
              </a:defRPr>
            </a:lvl9pPr>
          </a:lstStyle>
          <a:p>
            <a:pPr>
              <a:defRPr/>
            </a:pPr>
            <a:r>
              <a:rPr lang="hu-HU" sz="2400" dirty="0" smtClean="0">
                <a:ea typeface="+mj-ea"/>
              </a:rPr>
              <a:t>Nyomjelző (Tracer) tesztek</a:t>
            </a:r>
            <a:r>
              <a:rPr lang="de-DE" sz="2400" dirty="0" smtClean="0">
                <a:ea typeface="+mj-ea"/>
              </a:rPr>
              <a:t/>
            </a:r>
            <a:br>
              <a:rPr lang="de-DE" sz="2400" dirty="0" smtClean="0">
                <a:ea typeface="+mj-ea"/>
              </a:rPr>
            </a:br>
            <a:r>
              <a:rPr lang="hu-HU" sz="1600" i="1" dirty="0" smtClean="0">
                <a:ea typeface="+mj-ea"/>
              </a:rPr>
              <a:t>kutatások </a:t>
            </a:r>
            <a:r>
              <a:rPr lang="de-DE" sz="1600" i="1" dirty="0" smtClean="0"/>
              <a:t>Bruchsal</a:t>
            </a:r>
            <a:r>
              <a:rPr lang="hu-HU" sz="1600" i="1" dirty="0" smtClean="0"/>
              <a:t>-ban</a:t>
            </a:r>
            <a:r>
              <a:rPr lang="de-DE" dirty="0" smtClean="0">
                <a:ea typeface="+mj-ea"/>
              </a:rPr>
              <a:t/>
            </a:r>
            <a:br>
              <a:rPr lang="de-DE" dirty="0" smtClean="0">
                <a:ea typeface="+mj-ea"/>
              </a:rPr>
            </a:br>
            <a:endParaRPr lang="de-DE" dirty="0" smtClean="0">
              <a:ea typeface="+mj-ea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96275901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3"/>
          <p:cNvSpPr txBox="1">
            <a:spLocks noGrp="1"/>
          </p:cNvSpPr>
          <p:nvPr/>
        </p:nvSpPr>
        <p:spPr bwMode="auto">
          <a:xfrm>
            <a:off x="358775" y="6477000"/>
            <a:ext cx="360363" cy="252413"/>
          </a:xfrm>
          <a:prstGeom prst="rect">
            <a:avLst/>
          </a:prstGeom>
          <a:noFill/>
          <a:extLst/>
        </p:spPr>
        <p:txBody>
          <a:bodyPr lIns="0" tIns="0" rIns="0" bIns="0"/>
          <a:lstStyle/>
          <a:p>
            <a:pPr>
              <a:lnSpc>
                <a:spcPct val="100000"/>
              </a:lnSpc>
              <a:spcBef>
                <a:spcPct val="0"/>
              </a:spcBef>
              <a:defRPr/>
            </a:pPr>
            <a:fld id="{1756EEAC-5EAB-4C12-89AF-CD1736F465B5}" type="slidenum">
              <a:rPr lang="de-DE" sz="1200">
                <a:solidFill>
                  <a:srgbClr val="999999"/>
                </a:solidFill>
                <a:latin typeface="+mn-lt"/>
              </a:rPr>
              <a:pPr>
                <a:lnSpc>
                  <a:spcPct val="100000"/>
                </a:lnSpc>
                <a:spcBef>
                  <a:spcPct val="0"/>
                </a:spcBef>
                <a:defRPr/>
              </a:pPr>
              <a:t>13</a:t>
            </a:fld>
            <a:r>
              <a:rPr lang="de-DE" sz="1200">
                <a:solidFill>
                  <a:srgbClr val="999999"/>
                </a:solidFill>
                <a:latin typeface="+mn-lt"/>
              </a:rPr>
              <a:t> </a:t>
            </a:r>
            <a:endParaRPr lang="de-DE">
              <a:solidFill>
                <a:srgbClr val="B3B3B3"/>
              </a:solidFill>
              <a:latin typeface="Times" pitchFamily="18" charset="0"/>
            </a:endParaRPr>
          </a:p>
        </p:txBody>
      </p:sp>
      <p:sp>
        <p:nvSpPr>
          <p:cNvPr id="39939" name="Rectangle 3"/>
          <p:cNvSpPr>
            <a:spLocks noChangeAspect="1" noChangeArrowheads="1"/>
          </p:cNvSpPr>
          <p:nvPr/>
        </p:nvSpPr>
        <p:spPr bwMode="auto">
          <a:xfrm>
            <a:off x="528638" y="482600"/>
            <a:ext cx="6478587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de-DE" sz="2000">
                <a:latin typeface="DIN-Medium" pitchFamily="34" charset="0"/>
              </a:rPr>
              <a:t>Wasserchemie</a:t>
            </a:r>
          </a:p>
        </p:txBody>
      </p:sp>
      <p:sp>
        <p:nvSpPr>
          <p:cNvPr id="39940" name="Rectangle 11"/>
          <p:cNvSpPr>
            <a:spLocks noChangeArrowheads="1"/>
          </p:cNvSpPr>
          <p:nvPr/>
        </p:nvSpPr>
        <p:spPr bwMode="auto">
          <a:xfrm>
            <a:off x="528638" y="1772816"/>
            <a:ext cx="6365875" cy="7848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marL="177800" indent="-177800" eaLnBrk="1" hangingPunct="1">
              <a:lnSpc>
                <a:spcPct val="90000"/>
              </a:lnSpc>
              <a:spcBef>
                <a:spcPct val="70000"/>
              </a:spcBef>
              <a:buClr>
                <a:srgbClr val="F1A500"/>
              </a:buClr>
              <a:buSzPct val="135000"/>
              <a:buFontTx/>
              <a:buChar char="›"/>
            </a:pPr>
            <a:r>
              <a:rPr lang="de-DE" sz="1800" dirty="0">
                <a:solidFill>
                  <a:srgbClr val="4D4D4D"/>
                </a:solidFill>
              </a:rPr>
              <a:t>ca. 130 g </a:t>
            </a:r>
            <a:r>
              <a:rPr lang="hu-HU" dirty="0" smtClean="0">
                <a:solidFill>
                  <a:srgbClr val="4D4D4D"/>
                </a:solidFill>
              </a:rPr>
              <a:t>oldott anyagok</a:t>
            </a:r>
            <a:r>
              <a:rPr lang="de-DE" sz="1800" dirty="0" smtClean="0">
                <a:solidFill>
                  <a:srgbClr val="4D4D4D"/>
                </a:solidFill>
              </a:rPr>
              <a:t> </a:t>
            </a:r>
            <a:r>
              <a:rPr lang="hu-HU" sz="1800" dirty="0" smtClean="0">
                <a:solidFill>
                  <a:srgbClr val="4D4D4D"/>
                </a:solidFill>
              </a:rPr>
              <a:t>a termálvízben literenként</a:t>
            </a:r>
            <a:r>
              <a:rPr lang="de-DE" sz="1800" dirty="0" smtClean="0">
                <a:solidFill>
                  <a:srgbClr val="4D4D4D"/>
                </a:solidFill>
              </a:rPr>
              <a:t> </a:t>
            </a:r>
            <a:endParaRPr lang="de-DE" sz="1800" dirty="0">
              <a:solidFill>
                <a:srgbClr val="4D4D4D"/>
              </a:solidFill>
            </a:endParaRPr>
          </a:p>
          <a:p>
            <a:pPr marL="177800" indent="-177800" eaLnBrk="1" hangingPunct="1">
              <a:lnSpc>
                <a:spcPct val="90000"/>
              </a:lnSpc>
              <a:spcBef>
                <a:spcPct val="70000"/>
              </a:spcBef>
              <a:buClr>
                <a:srgbClr val="F1A500"/>
              </a:buClr>
              <a:buSzPct val="135000"/>
              <a:buFontTx/>
              <a:buChar char="›"/>
            </a:pPr>
            <a:r>
              <a:rPr lang="hu-HU" dirty="0" smtClean="0">
                <a:solidFill>
                  <a:srgbClr val="4D4D4D"/>
                </a:solidFill>
              </a:rPr>
              <a:t>Holt-tenger</a:t>
            </a:r>
            <a:r>
              <a:rPr lang="de-DE" sz="1800" dirty="0" smtClean="0">
                <a:solidFill>
                  <a:srgbClr val="4D4D4D"/>
                </a:solidFill>
              </a:rPr>
              <a:t>: </a:t>
            </a:r>
            <a:r>
              <a:rPr lang="de-DE" sz="1800" dirty="0">
                <a:solidFill>
                  <a:srgbClr val="4D4D4D"/>
                </a:solidFill>
              </a:rPr>
              <a:t>ca. 150 g/l</a:t>
            </a:r>
          </a:p>
        </p:txBody>
      </p:sp>
      <p:pic>
        <p:nvPicPr>
          <p:cNvPr id="39941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187624" y="2482850"/>
            <a:ext cx="6864350" cy="4246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itel 1"/>
          <p:cNvSpPr txBox="1">
            <a:spLocks/>
          </p:cNvSpPr>
          <p:nvPr/>
        </p:nvSpPr>
        <p:spPr bwMode="auto">
          <a:xfrm>
            <a:off x="584200" y="547688"/>
            <a:ext cx="6940550" cy="1152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2000">
                <a:solidFill>
                  <a:srgbClr val="000099"/>
                </a:solidFill>
                <a:latin typeface="+mj-lt"/>
                <a:ea typeface="Lucida Sans Unicode" pitchFamily="34" charset="0"/>
                <a:cs typeface="+mj-cs"/>
              </a:defRPr>
            </a:lvl1pPr>
            <a:lvl2pPr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2000">
                <a:solidFill>
                  <a:srgbClr val="000099"/>
                </a:solidFill>
                <a:latin typeface="DIN-Medium" pitchFamily="34" charset="0"/>
                <a:ea typeface="Lucida Sans Unicode" pitchFamily="34" charset="0"/>
                <a:cs typeface="Lucida Sans Unicode" pitchFamily="34" charset="0"/>
              </a:defRPr>
            </a:lvl2pPr>
            <a:lvl3pPr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2000">
                <a:solidFill>
                  <a:srgbClr val="000099"/>
                </a:solidFill>
                <a:latin typeface="DIN-Medium" pitchFamily="34" charset="0"/>
                <a:ea typeface="Lucida Sans Unicode" pitchFamily="34" charset="0"/>
                <a:cs typeface="Lucida Sans Unicode" pitchFamily="34" charset="0"/>
              </a:defRPr>
            </a:lvl3pPr>
            <a:lvl4pPr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2000">
                <a:solidFill>
                  <a:srgbClr val="000099"/>
                </a:solidFill>
                <a:latin typeface="DIN-Medium" pitchFamily="34" charset="0"/>
                <a:ea typeface="Lucida Sans Unicode" pitchFamily="34" charset="0"/>
                <a:cs typeface="Lucida Sans Unicode" pitchFamily="34" charset="0"/>
              </a:defRPr>
            </a:lvl4pPr>
            <a:lvl5pPr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2000">
                <a:solidFill>
                  <a:srgbClr val="000099"/>
                </a:solidFill>
                <a:latin typeface="DIN-Medium" pitchFamily="34" charset="0"/>
                <a:ea typeface="Lucida Sans Unicode" pitchFamily="34" charset="0"/>
                <a:cs typeface="Lucida Sans Unicode" pitchFamily="34" charset="0"/>
              </a:defRPr>
            </a:lvl5pPr>
            <a:lvl6pPr marL="2514600" indent="-228600" algn="l" defTabSz="449263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2000">
                <a:solidFill>
                  <a:srgbClr val="000099"/>
                </a:solidFill>
                <a:latin typeface="DIN-Medium" pitchFamily="34" charset="0"/>
                <a:cs typeface="Lucida Sans Unicode" pitchFamily="34" charset="0"/>
              </a:defRPr>
            </a:lvl6pPr>
            <a:lvl7pPr marL="2971800" indent="-228600" algn="l" defTabSz="449263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2000">
                <a:solidFill>
                  <a:srgbClr val="000099"/>
                </a:solidFill>
                <a:latin typeface="DIN-Medium" pitchFamily="34" charset="0"/>
                <a:cs typeface="Lucida Sans Unicode" pitchFamily="34" charset="0"/>
              </a:defRPr>
            </a:lvl7pPr>
            <a:lvl8pPr marL="3429000" indent="-228600" algn="l" defTabSz="449263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2000">
                <a:solidFill>
                  <a:srgbClr val="000099"/>
                </a:solidFill>
                <a:latin typeface="DIN-Medium" pitchFamily="34" charset="0"/>
                <a:cs typeface="Lucida Sans Unicode" pitchFamily="34" charset="0"/>
              </a:defRPr>
            </a:lvl8pPr>
            <a:lvl9pPr marL="3886200" indent="-228600" algn="l" defTabSz="449263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2000">
                <a:solidFill>
                  <a:srgbClr val="000099"/>
                </a:solidFill>
                <a:latin typeface="DIN-Medium" pitchFamily="34" charset="0"/>
                <a:cs typeface="Lucida Sans Unicode" pitchFamily="34" charset="0"/>
              </a:defRPr>
            </a:lvl9pPr>
          </a:lstStyle>
          <a:p>
            <a:pPr>
              <a:defRPr/>
            </a:pPr>
            <a:r>
              <a:rPr lang="hu-HU" sz="2400" dirty="0" smtClean="0">
                <a:ea typeface="+mj-ea"/>
              </a:rPr>
              <a:t>A termálvíz sótartalma</a:t>
            </a:r>
            <a:r>
              <a:rPr lang="de-DE" sz="2400" smtClean="0">
                <a:ea typeface="+mj-ea"/>
              </a:rPr>
              <a:t/>
            </a:r>
            <a:br>
              <a:rPr lang="de-DE" sz="2400" smtClean="0">
                <a:ea typeface="+mj-ea"/>
              </a:rPr>
            </a:br>
            <a:r>
              <a:rPr lang="hu-HU" sz="1600" i="1" smtClean="0"/>
              <a:t>Kb</a:t>
            </a:r>
            <a:r>
              <a:rPr lang="hu-HU" sz="1600" i="1" dirty="0" smtClean="0"/>
              <a:t>. </a:t>
            </a:r>
            <a:r>
              <a:rPr lang="hu-HU" sz="1600" i="1" dirty="0"/>
              <a:t>n</a:t>
            </a:r>
            <a:r>
              <a:rPr lang="hu-HU" sz="1600" i="1" dirty="0" smtClean="0"/>
              <a:t>égyszer sósabb mint a tengervíz</a:t>
            </a:r>
            <a:r>
              <a:rPr lang="de-DE" dirty="0" smtClean="0"/>
              <a:t> </a:t>
            </a:r>
            <a:r>
              <a:rPr lang="de-DE" dirty="0" smtClean="0">
                <a:ea typeface="+mj-ea"/>
              </a:rPr>
              <a:t/>
            </a:r>
            <a:br>
              <a:rPr lang="de-DE" dirty="0" smtClean="0">
                <a:ea typeface="+mj-ea"/>
              </a:rPr>
            </a:br>
            <a:endParaRPr lang="de-DE" dirty="0" smtClean="0">
              <a:ea typeface="+mj-ea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66315023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3"/>
          <p:cNvSpPr txBox="1">
            <a:spLocks noGrp="1"/>
          </p:cNvSpPr>
          <p:nvPr/>
        </p:nvSpPr>
        <p:spPr bwMode="auto">
          <a:xfrm>
            <a:off x="358775" y="6477000"/>
            <a:ext cx="360363" cy="252413"/>
          </a:xfrm>
          <a:prstGeom prst="rect">
            <a:avLst/>
          </a:prstGeom>
          <a:noFill/>
          <a:extLst/>
        </p:spPr>
        <p:txBody>
          <a:bodyPr lIns="0" tIns="0" rIns="0" bIns="0"/>
          <a:lstStyle/>
          <a:p>
            <a:pPr>
              <a:lnSpc>
                <a:spcPct val="100000"/>
              </a:lnSpc>
              <a:spcBef>
                <a:spcPct val="0"/>
              </a:spcBef>
              <a:defRPr/>
            </a:pPr>
            <a:fld id="{CA53A1CB-E3F1-44C6-99AE-D63E5986AC6F}" type="slidenum">
              <a:rPr lang="de-DE" sz="1200">
                <a:solidFill>
                  <a:srgbClr val="999999"/>
                </a:solidFill>
                <a:latin typeface="+mn-lt"/>
              </a:rPr>
              <a:pPr>
                <a:lnSpc>
                  <a:spcPct val="100000"/>
                </a:lnSpc>
                <a:spcBef>
                  <a:spcPct val="0"/>
                </a:spcBef>
                <a:defRPr/>
              </a:pPr>
              <a:t>14</a:t>
            </a:fld>
            <a:r>
              <a:rPr lang="de-DE" sz="1200">
                <a:solidFill>
                  <a:srgbClr val="999999"/>
                </a:solidFill>
                <a:latin typeface="+mn-lt"/>
              </a:rPr>
              <a:t> </a:t>
            </a:r>
            <a:endParaRPr lang="de-DE">
              <a:solidFill>
                <a:srgbClr val="B3B3B3"/>
              </a:solidFill>
              <a:latin typeface="Times" pitchFamily="18" charset="0"/>
            </a:endParaRPr>
          </a:p>
        </p:txBody>
      </p:sp>
      <p:sp>
        <p:nvSpPr>
          <p:cNvPr id="40963" name="Rectangle 3"/>
          <p:cNvSpPr>
            <a:spLocks noChangeAspect="1" noChangeArrowheads="1"/>
          </p:cNvSpPr>
          <p:nvPr/>
        </p:nvSpPr>
        <p:spPr bwMode="auto">
          <a:xfrm>
            <a:off x="528638" y="482600"/>
            <a:ext cx="6478587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de-DE" sz="2000">
                <a:latin typeface="DIN-Medium" pitchFamily="34" charset="0"/>
              </a:rPr>
              <a:t>Gaszusammensetzung</a:t>
            </a:r>
          </a:p>
        </p:txBody>
      </p:sp>
      <p:pic>
        <p:nvPicPr>
          <p:cNvPr id="40965" name="Picture 7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166515" y="1772816"/>
            <a:ext cx="6573837" cy="4860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0964" name="Rectangle 11"/>
          <p:cNvSpPr>
            <a:spLocks noChangeArrowheads="1"/>
          </p:cNvSpPr>
          <p:nvPr/>
        </p:nvSpPr>
        <p:spPr bwMode="auto">
          <a:xfrm>
            <a:off x="552398" y="1778743"/>
            <a:ext cx="6365875" cy="7848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marL="177800" indent="-177800" eaLnBrk="1" hangingPunct="1">
              <a:lnSpc>
                <a:spcPct val="90000"/>
              </a:lnSpc>
              <a:spcBef>
                <a:spcPct val="70000"/>
              </a:spcBef>
              <a:buClr>
                <a:srgbClr val="F1A500"/>
              </a:buClr>
              <a:buSzPct val="135000"/>
              <a:buFontTx/>
              <a:buChar char="›"/>
            </a:pPr>
            <a:r>
              <a:rPr lang="de-DE" sz="1800" dirty="0">
                <a:solidFill>
                  <a:srgbClr val="4D4D4D"/>
                </a:solidFill>
              </a:rPr>
              <a:t>ca. 2,2 Liter </a:t>
            </a:r>
            <a:r>
              <a:rPr lang="hu-HU" dirty="0" smtClean="0">
                <a:solidFill>
                  <a:srgbClr val="4D4D4D"/>
                </a:solidFill>
              </a:rPr>
              <a:t>oldott </a:t>
            </a:r>
            <a:r>
              <a:rPr lang="de-DE" sz="1800" dirty="0" smtClean="0">
                <a:solidFill>
                  <a:srgbClr val="4D4D4D"/>
                </a:solidFill>
              </a:rPr>
              <a:t> </a:t>
            </a:r>
            <a:r>
              <a:rPr lang="hu-HU" sz="1800" dirty="0" smtClean="0">
                <a:solidFill>
                  <a:srgbClr val="4D4D4D"/>
                </a:solidFill>
              </a:rPr>
              <a:t>gázok a termálvízben</a:t>
            </a:r>
            <a:r>
              <a:rPr lang="hu-HU" dirty="0">
                <a:solidFill>
                  <a:srgbClr val="4D4D4D"/>
                </a:solidFill>
              </a:rPr>
              <a:t> </a:t>
            </a:r>
            <a:r>
              <a:rPr lang="hu-HU" dirty="0" smtClean="0">
                <a:solidFill>
                  <a:srgbClr val="4D4D4D"/>
                </a:solidFill>
              </a:rPr>
              <a:t>kilógrammonként</a:t>
            </a:r>
            <a:r>
              <a:rPr lang="de-DE" sz="1800" dirty="0" smtClean="0">
                <a:solidFill>
                  <a:srgbClr val="4D4D4D"/>
                </a:solidFill>
              </a:rPr>
              <a:t> </a:t>
            </a:r>
            <a:endParaRPr lang="de-DE" sz="1800" dirty="0">
              <a:solidFill>
                <a:srgbClr val="4D4D4D"/>
              </a:solidFill>
            </a:endParaRPr>
          </a:p>
          <a:p>
            <a:pPr marL="177800" indent="-177800" eaLnBrk="1" hangingPunct="1">
              <a:lnSpc>
                <a:spcPct val="90000"/>
              </a:lnSpc>
              <a:spcBef>
                <a:spcPct val="70000"/>
              </a:spcBef>
              <a:buClr>
                <a:srgbClr val="F1A500"/>
              </a:buClr>
              <a:buSzPct val="135000"/>
              <a:buFontTx/>
              <a:buChar char="›"/>
            </a:pPr>
            <a:r>
              <a:rPr lang="hu-HU" sz="1800" dirty="0" smtClean="0">
                <a:solidFill>
                  <a:srgbClr val="4D4D4D"/>
                </a:solidFill>
              </a:rPr>
              <a:t>főleg</a:t>
            </a:r>
            <a:r>
              <a:rPr lang="de-DE" sz="1800" dirty="0" smtClean="0">
                <a:solidFill>
                  <a:srgbClr val="4D4D4D"/>
                </a:solidFill>
              </a:rPr>
              <a:t> </a:t>
            </a:r>
            <a:r>
              <a:rPr lang="de-DE" sz="1800" dirty="0">
                <a:solidFill>
                  <a:srgbClr val="4D4D4D"/>
                </a:solidFill>
              </a:rPr>
              <a:t>CO</a:t>
            </a:r>
            <a:r>
              <a:rPr lang="de-DE" sz="1800" baseline="-25000" dirty="0">
                <a:solidFill>
                  <a:srgbClr val="4D4D4D"/>
                </a:solidFill>
              </a:rPr>
              <a:t>2</a:t>
            </a:r>
          </a:p>
        </p:txBody>
      </p:sp>
      <p:sp>
        <p:nvSpPr>
          <p:cNvPr id="7" name="Titel 1"/>
          <p:cNvSpPr txBox="1">
            <a:spLocks/>
          </p:cNvSpPr>
          <p:nvPr/>
        </p:nvSpPr>
        <p:spPr bwMode="auto">
          <a:xfrm>
            <a:off x="584200" y="547688"/>
            <a:ext cx="6940550" cy="1152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2000">
                <a:solidFill>
                  <a:srgbClr val="000099"/>
                </a:solidFill>
                <a:latin typeface="+mj-lt"/>
                <a:ea typeface="Lucida Sans Unicode" pitchFamily="34" charset="0"/>
                <a:cs typeface="+mj-cs"/>
              </a:defRPr>
            </a:lvl1pPr>
            <a:lvl2pPr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2000">
                <a:solidFill>
                  <a:srgbClr val="000099"/>
                </a:solidFill>
                <a:latin typeface="DIN-Medium" pitchFamily="34" charset="0"/>
                <a:ea typeface="Lucida Sans Unicode" pitchFamily="34" charset="0"/>
                <a:cs typeface="Lucida Sans Unicode" pitchFamily="34" charset="0"/>
              </a:defRPr>
            </a:lvl2pPr>
            <a:lvl3pPr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2000">
                <a:solidFill>
                  <a:srgbClr val="000099"/>
                </a:solidFill>
                <a:latin typeface="DIN-Medium" pitchFamily="34" charset="0"/>
                <a:ea typeface="Lucida Sans Unicode" pitchFamily="34" charset="0"/>
                <a:cs typeface="Lucida Sans Unicode" pitchFamily="34" charset="0"/>
              </a:defRPr>
            </a:lvl3pPr>
            <a:lvl4pPr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2000">
                <a:solidFill>
                  <a:srgbClr val="000099"/>
                </a:solidFill>
                <a:latin typeface="DIN-Medium" pitchFamily="34" charset="0"/>
                <a:ea typeface="Lucida Sans Unicode" pitchFamily="34" charset="0"/>
                <a:cs typeface="Lucida Sans Unicode" pitchFamily="34" charset="0"/>
              </a:defRPr>
            </a:lvl4pPr>
            <a:lvl5pPr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2000">
                <a:solidFill>
                  <a:srgbClr val="000099"/>
                </a:solidFill>
                <a:latin typeface="DIN-Medium" pitchFamily="34" charset="0"/>
                <a:ea typeface="Lucida Sans Unicode" pitchFamily="34" charset="0"/>
                <a:cs typeface="Lucida Sans Unicode" pitchFamily="34" charset="0"/>
              </a:defRPr>
            </a:lvl5pPr>
            <a:lvl6pPr marL="2514600" indent="-228600" algn="l" defTabSz="449263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2000">
                <a:solidFill>
                  <a:srgbClr val="000099"/>
                </a:solidFill>
                <a:latin typeface="DIN-Medium" pitchFamily="34" charset="0"/>
                <a:cs typeface="Lucida Sans Unicode" pitchFamily="34" charset="0"/>
              </a:defRPr>
            </a:lvl6pPr>
            <a:lvl7pPr marL="2971800" indent="-228600" algn="l" defTabSz="449263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2000">
                <a:solidFill>
                  <a:srgbClr val="000099"/>
                </a:solidFill>
                <a:latin typeface="DIN-Medium" pitchFamily="34" charset="0"/>
                <a:cs typeface="Lucida Sans Unicode" pitchFamily="34" charset="0"/>
              </a:defRPr>
            </a:lvl7pPr>
            <a:lvl8pPr marL="3429000" indent="-228600" algn="l" defTabSz="449263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2000">
                <a:solidFill>
                  <a:srgbClr val="000099"/>
                </a:solidFill>
                <a:latin typeface="DIN-Medium" pitchFamily="34" charset="0"/>
                <a:cs typeface="Lucida Sans Unicode" pitchFamily="34" charset="0"/>
              </a:defRPr>
            </a:lvl8pPr>
            <a:lvl9pPr marL="3886200" indent="-228600" algn="l" defTabSz="449263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2000">
                <a:solidFill>
                  <a:srgbClr val="000099"/>
                </a:solidFill>
                <a:latin typeface="DIN-Medium" pitchFamily="34" charset="0"/>
                <a:cs typeface="Lucida Sans Unicode" pitchFamily="34" charset="0"/>
              </a:defRPr>
            </a:lvl9pPr>
          </a:lstStyle>
          <a:p>
            <a:pPr>
              <a:defRPr/>
            </a:pPr>
            <a:r>
              <a:rPr lang="hu-HU" sz="2400" dirty="0" smtClean="0">
                <a:ea typeface="+mj-ea"/>
              </a:rPr>
              <a:t>A termálvíz gáztartalma</a:t>
            </a:r>
            <a:r>
              <a:rPr lang="de-DE" sz="2400" dirty="0" smtClean="0">
                <a:ea typeface="+mj-ea"/>
              </a:rPr>
              <a:t/>
            </a:r>
            <a:br>
              <a:rPr lang="de-DE" sz="2400" dirty="0" smtClean="0">
                <a:ea typeface="+mj-ea"/>
              </a:rPr>
            </a:br>
            <a:r>
              <a:rPr lang="hu-HU" sz="1600" i="1" dirty="0" smtClean="0">
                <a:ea typeface="+mj-ea"/>
              </a:rPr>
              <a:t>ca.</a:t>
            </a:r>
            <a:r>
              <a:rPr lang="de-DE" sz="1600" i="1" dirty="0" smtClean="0"/>
              <a:t> 2,2 l CO</a:t>
            </a:r>
            <a:r>
              <a:rPr lang="de-DE" sz="1600" i="1" baseline="-25000" dirty="0" smtClean="0"/>
              <a:t>2</a:t>
            </a:r>
            <a:r>
              <a:rPr lang="de-DE" sz="1600" i="1" dirty="0" smtClean="0"/>
              <a:t>  </a:t>
            </a:r>
            <a:r>
              <a:rPr lang="hu-HU" sz="1600" i="1" dirty="0" smtClean="0"/>
              <a:t>kilógrammonként</a:t>
            </a:r>
            <a:r>
              <a:rPr lang="de-DE" dirty="0" smtClean="0"/>
              <a:t> </a:t>
            </a:r>
            <a:r>
              <a:rPr lang="de-DE" dirty="0" smtClean="0">
                <a:ea typeface="+mj-ea"/>
              </a:rPr>
              <a:t/>
            </a:r>
            <a:br>
              <a:rPr lang="de-DE" dirty="0" smtClean="0">
                <a:ea typeface="+mj-ea"/>
              </a:rPr>
            </a:br>
            <a:endParaRPr lang="de-DE" dirty="0" smtClean="0">
              <a:ea typeface="+mj-ea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11995892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oliennummernplatzhalter 5"/>
          <p:cNvSpPr txBox="1">
            <a:spLocks noGrp="1"/>
          </p:cNvSpPr>
          <p:nvPr/>
        </p:nvSpPr>
        <p:spPr bwMode="auto">
          <a:xfrm>
            <a:off x="358775" y="6477000"/>
            <a:ext cx="360363" cy="252413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>
              <a:lnSpc>
                <a:spcPct val="110000"/>
              </a:lnSpc>
              <a:spcBef>
                <a:spcPct val="50000"/>
              </a:spcBef>
              <a:defRPr/>
            </a:pPr>
            <a:fld id="{8A4CAE5C-994C-4DE6-BFFA-C0B96638DD77}" type="slidenum">
              <a:rPr lang="de-DE" sz="1200">
                <a:solidFill>
                  <a:srgbClr val="999999"/>
                </a:solidFill>
                <a:latin typeface="DIN-Regular"/>
                <a:cs typeface="+mn-cs"/>
              </a:rPr>
              <a:pPr eaLnBrk="0" hangingPunct="0">
                <a:lnSpc>
                  <a:spcPct val="110000"/>
                </a:lnSpc>
                <a:spcBef>
                  <a:spcPct val="50000"/>
                </a:spcBef>
                <a:defRPr/>
              </a:pPr>
              <a:t>2</a:t>
            </a:fld>
            <a:r>
              <a:rPr lang="de-DE" sz="1200" dirty="0">
                <a:solidFill>
                  <a:srgbClr val="999999"/>
                </a:solidFill>
                <a:latin typeface="DIN-Regular"/>
                <a:cs typeface="+mn-cs"/>
              </a:rPr>
              <a:t> </a:t>
            </a:r>
            <a:endParaRPr lang="de-DE" sz="1600" dirty="0">
              <a:solidFill>
                <a:srgbClr val="B3B3B3"/>
              </a:solidFill>
              <a:latin typeface="Times" pitchFamily="18" charset="0"/>
              <a:cs typeface="+mn-cs"/>
            </a:endParaRPr>
          </a:p>
        </p:txBody>
      </p:sp>
      <p:sp>
        <p:nvSpPr>
          <p:cNvPr id="73" name="Rectangle 3"/>
          <p:cNvSpPr>
            <a:spLocks noChangeAspect="1" noChangeArrowheads="1"/>
          </p:cNvSpPr>
          <p:nvPr/>
        </p:nvSpPr>
        <p:spPr bwMode="auto">
          <a:xfrm>
            <a:off x="528638" y="482600"/>
            <a:ext cx="6478587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r>
              <a:rPr lang="de-DE" sz="2400" dirty="0" smtClean="0">
                <a:latin typeface="DIN-Medium" pitchFamily="34" charset="0"/>
              </a:rPr>
              <a:t>Potentiale und Kraftwerke</a:t>
            </a:r>
          </a:p>
          <a:p>
            <a:r>
              <a:rPr lang="de-DE" sz="1800" i="1" dirty="0" smtClean="0">
                <a:latin typeface="+mj-lt"/>
                <a:ea typeface="+mj-ea"/>
                <a:cs typeface="+mj-cs"/>
              </a:rPr>
              <a:t>Zumeist Doubletten</a:t>
            </a:r>
            <a:endParaRPr lang="de-DE" sz="1800" i="1" dirty="0">
              <a:latin typeface="+mj-lt"/>
              <a:ea typeface="+mj-ea"/>
              <a:cs typeface="+mj-cs"/>
            </a:endParaRPr>
          </a:p>
        </p:txBody>
      </p:sp>
      <p:sp>
        <p:nvSpPr>
          <p:cNvPr id="74" name="Titel 1"/>
          <p:cNvSpPr txBox="1">
            <a:spLocks/>
          </p:cNvSpPr>
          <p:nvPr/>
        </p:nvSpPr>
        <p:spPr bwMode="auto">
          <a:xfrm>
            <a:off x="584200" y="547688"/>
            <a:ext cx="6940550" cy="1152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2000">
                <a:solidFill>
                  <a:srgbClr val="000099"/>
                </a:solidFill>
                <a:latin typeface="+mj-lt"/>
                <a:ea typeface="Lucida Sans Unicode" pitchFamily="34" charset="0"/>
                <a:cs typeface="+mj-cs"/>
              </a:defRPr>
            </a:lvl1pPr>
            <a:lvl2pPr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2000">
                <a:solidFill>
                  <a:srgbClr val="000099"/>
                </a:solidFill>
                <a:latin typeface="DIN-Medium" pitchFamily="34" charset="0"/>
                <a:ea typeface="Lucida Sans Unicode" pitchFamily="34" charset="0"/>
                <a:cs typeface="Lucida Sans Unicode" pitchFamily="34" charset="0"/>
              </a:defRPr>
            </a:lvl2pPr>
            <a:lvl3pPr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2000">
                <a:solidFill>
                  <a:srgbClr val="000099"/>
                </a:solidFill>
                <a:latin typeface="DIN-Medium" pitchFamily="34" charset="0"/>
                <a:ea typeface="Lucida Sans Unicode" pitchFamily="34" charset="0"/>
                <a:cs typeface="Lucida Sans Unicode" pitchFamily="34" charset="0"/>
              </a:defRPr>
            </a:lvl3pPr>
            <a:lvl4pPr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2000">
                <a:solidFill>
                  <a:srgbClr val="000099"/>
                </a:solidFill>
                <a:latin typeface="DIN-Medium" pitchFamily="34" charset="0"/>
                <a:ea typeface="Lucida Sans Unicode" pitchFamily="34" charset="0"/>
                <a:cs typeface="Lucida Sans Unicode" pitchFamily="34" charset="0"/>
              </a:defRPr>
            </a:lvl4pPr>
            <a:lvl5pPr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2000">
                <a:solidFill>
                  <a:srgbClr val="000099"/>
                </a:solidFill>
                <a:latin typeface="DIN-Medium" pitchFamily="34" charset="0"/>
                <a:ea typeface="Lucida Sans Unicode" pitchFamily="34" charset="0"/>
                <a:cs typeface="Lucida Sans Unicode" pitchFamily="34" charset="0"/>
              </a:defRPr>
            </a:lvl5pPr>
            <a:lvl6pPr marL="2514600" indent="-228600" algn="l" defTabSz="449263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2000">
                <a:solidFill>
                  <a:srgbClr val="000099"/>
                </a:solidFill>
                <a:latin typeface="DIN-Medium" pitchFamily="34" charset="0"/>
                <a:cs typeface="Lucida Sans Unicode" pitchFamily="34" charset="0"/>
              </a:defRPr>
            </a:lvl6pPr>
            <a:lvl7pPr marL="2971800" indent="-228600" algn="l" defTabSz="449263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2000">
                <a:solidFill>
                  <a:srgbClr val="000099"/>
                </a:solidFill>
                <a:latin typeface="DIN-Medium" pitchFamily="34" charset="0"/>
                <a:cs typeface="Lucida Sans Unicode" pitchFamily="34" charset="0"/>
              </a:defRPr>
            </a:lvl7pPr>
            <a:lvl8pPr marL="3429000" indent="-228600" algn="l" defTabSz="449263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2000">
                <a:solidFill>
                  <a:srgbClr val="000099"/>
                </a:solidFill>
                <a:latin typeface="DIN-Medium" pitchFamily="34" charset="0"/>
                <a:cs typeface="Lucida Sans Unicode" pitchFamily="34" charset="0"/>
              </a:defRPr>
            </a:lvl8pPr>
            <a:lvl9pPr marL="3886200" indent="-228600" algn="l" defTabSz="449263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2000">
                <a:solidFill>
                  <a:srgbClr val="000099"/>
                </a:solidFill>
                <a:latin typeface="DIN-Medium" pitchFamily="34" charset="0"/>
                <a:cs typeface="Lucida Sans Unicode" pitchFamily="34" charset="0"/>
              </a:defRPr>
            </a:lvl9pPr>
          </a:lstStyle>
          <a:p>
            <a:pPr>
              <a:defRPr/>
            </a:pPr>
            <a:r>
              <a:rPr lang="hu-HU" sz="2400" dirty="0" smtClean="0">
                <a:ea typeface="+mj-ea"/>
              </a:rPr>
              <a:t>A világ geotermikus</a:t>
            </a:r>
            <a:r>
              <a:rPr lang="de-DE" sz="2400" dirty="0" smtClean="0">
                <a:ea typeface="+mj-ea"/>
              </a:rPr>
              <a:t> </a:t>
            </a:r>
            <a:r>
              <a:rPr lang="hu-HU" sz="2400" dirty="0" smtClean="0">
                <a:ea typeface="+mj-ea"/>
              </a:rPr>
              <a:t>áramtermelése</a:t>
            </a:r>
            <a:r>
              <a:rPr lang="de-DE" sz="2400" smtClean="0">
                <a:ea typeface="+mj-ea"/>
              </a:rPr>
              <a:t/>
            </a:r>
            <a:br>
              <a:rPr lang="de-DE" sz="2400" smtClean="0">
                <a:ea typeface="+mj-ea"/>
              </a:rPr>
            </a:br>
            <a:r>
              <a:rPr lang="hu-HU" sz="1600" i="1" smtClean="0"/>
              <a:t>Ázsia </a:t>
            </a:r>
            <a:r>
              <a:rPr lang="hu-HU" sz="1600" i="1" dirty="0" smtClean="0"/>
              <a:t>és Amerika energiaellátásának fontos része</a:t>
            </a:r>
            <a:r>
              <a:rPr lang="de-DE" dirty="0" smtClean="0">
                <a:ea typeface="+mj-ea"/>
              </a:rPr>
              <a:t/>
            </a:r>
            <a:br>
              <a:rPr lang="de-DE" dirty="0" smtClean="0">
                <a:ea typeface="+mj-ea"/>
              </a:rPr>
            </a:br>
            <a:endParaRPr lang="de-DE" dirty="0" smtClean="0">
              <a:ea typeface="+mj-ea"/>
            </a:endParaRPr>
          </a:p>
        </p:txBody>
      </p:sp>
      <p:pic>
        <p:nvPicPr>
          <p:cNvPr id="153" name="Diagramm 24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187624" y="1783940"/>
            <a:ext cx="6610350" cy="50740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4" name="Text Box 4"/>
          <p:cNvSpPr txBox="1">
            <a:spLocks noChangeArrowheads="1"/>
          </p:cNvSpPr>
          <p:nvPr/>
        </p:nvSpPr>
        <p:spPr bwMode="auto">
          <a:xfrm>
            <a:off x="4795838" y="6248400"/>
            <a:ext cx="2732087" cy="201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46800">
            <a:spAutoFit/>
          </a:bodyPr>
          <a:lstStyle>
            <a:lvl1pPr>
              <a:defRPr sz="1400">
                <a:solidFill>
                  <a:srgbClr val="000099"/>
                </a:solidFill>
                <a:latin typeface="DIN-Regular" pitchFamily="34" charset="0"/>
              </a:defRPr>
            </a:lvl1pPr>
            <a:lvl2pPr marL="742950" indent="-285750">
              <a:defRPr sz="1400">
                <a:solidFill>
                  <a:srgbClr val="000099"/>
                </a:solidFill>
                <a:latin typeface="DIN-Regular" pitchFamily="34" charset="0"/>
              </a:defRPr>
            </a:lvl2pPr>
            <a:lvl3pPr marL="1143000" indent="-228600">
              <a:defRPr sz="1400">
                <a:solidFill>
                  <a:srgbClr val="000099"/>
                </a:solidFill>
                <a:latin typeface="DIN-Regular" pitchFamily="34" charset="0"/>
              </a:defRPr>
            </a:lvl3pPr>
            <a:lvl4pPr marL="1600200" indent="-228600">
              <a:defRPr sz="1400">
                <a:solidFill>
                  <a:srgbClr val="000099"/>
                </a:solidFill>
                <a:latin typeface="DIN-Regular" pitchFamily="34" charset="0"/>
              </a:defRPr>
            </a:lvl4pPr>
            <a:lvl5pPr marL="2057400" indent="-228600">
              <a:defRPr sz="1400">
                <a:solidFill>
                  <a:srgbClr val="000099"/>
                </a:solidFill>
                <a:latin typeface="DIN-Regular" pitchFamily="34" charset="0"/>
              </a:defRPr>
            </a:lvl5pPr>
            <a:lvl6pPr marL="25146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1400">
                <a:solidFill>
                  <a:srgbClr val="000099"/>
                </a:solidFill>
                <a:latin typeface="DIN-Regular" pitchFamily="34" charset="0"/>
              </a:defRPr>
            </a:lvl6pPr>
            <a:lvl7pPr marL="29718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1400">
                <a:solidFill>
                  <a:srgbClr val="000099"/>
                </a:solidFill>
                <a:latin typeface="DIN-Regular" pitchFamily="34" charset="0"/>
              </a:defRPr>
            </a:lvl7pPr>
            <a:lvl8pPr marL="34290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1400">
                <a:solidFill>
                  <a:srgbClr val="000099"/>
                </a:solidFill>
                <a:latin typeface="DIN-Regular" pitchFamily="34" charset="0"/>
              </a:defRPr>
            </a:lvl8pPr>
            <a:lvl9pPr marL="38862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1400">
                <a:solidFill>
                  <a:srgbClr val="000099"/>
                </a:solidFill>
                <a:latin typeface="DIN-Regular" pitchFamily="34" charset="0"/>
              </a:defRPr>
            </a:lvl9pPr>
          </a:lstStyle>
          <a:p>
            <a:pPr algn="r">
              <a:lnSpc>
                <a:spcPct val="100000"/>
              </a:lnSpc>
              <a:spcBef>
                <a:spcPct val="0"/>
              </a:spcBef>
            </a:pPr>
            <a:r>
              <a:rPr lang="en-GB" sz="1000" dirty="0" err="1">
                <a:solidFill>
                  <a:srgbClr val="979797"/>
                </a:solidFill>
              </a:rPr>
              <a:t>Quelle</a:t>
            </a:r>
            <a:r>
              <a:rPr lang="en-GB" sz="1000" dirty="0">
                <a:solidFill>
                  <a:srgbClr val="979797"/>
                </a:solidFill>
              </a:rPr>
              <a:t>: World Geothermal Congress, </a:t>
            </a:r>
            <a:r>
              <a:rPr lang="en-GB" sz="1000" dirty="0" smtClean="0">
                <a:solidFill>
                  <a:srgbClr val="979797"/>
                </a:solidFill>
              </a:rPr>
              <a:t>2010</a:t>
            </a:r>
            <a:endParaRPr lang="en-GB" sz="1000" dirty="0">
              <a:solidFill>
                <a:srgbClr val="979797"/>
              </a:solidFill>
            </a:endParaRPr>
          </a:p>
        </p:txBody>
      </p:sp>
      <p:sp>
        <p:nvSpPr>
          <p:cNvPr id="155" name="Text Box 6"/>
          <p:cNvSpPr txBox="1">
            <a:spLocks noChangeArrowheads="1"/>
          </p:cNvSpPr>
          <p:nvPr/>
        </p:nvSpPr>
        <p:spPr bwMode="auto">
          <a:xfrm>
            <a:off x="3579306" y="3985574"/>
            <a:ext cx="1582737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0" bIns="0" anchor="b">
            <a:spAutoFit/>
          </a:bodyPr>
          <a:lstStyle>
            <a:lvl1pPr>
              <a:defRPr sz="1400">
                <a:solidFill>
                  <a:srgbClr val="000099"/>
                </a:solidFill>
                <a:latin typeface="DIN-Regular" pitchFamily="34" charset="0"/>
              </a:defRPr>
            </a:lvl1pPr>
            <a:lvl2pPr marL="742950" indent="-285750">
              <a:defRPr sz="1400">
                <a:solidFill>
                  <a:srgbClr val="000099"/>
                </a:solidFill>
                <a:latin typeface="DIN-Regular" pitchFamily="34" charset="0"/>
              </a:defRPr>
            </a:lvl2pPr>
            <a:lvl3pPr marL="1143000" indent="-228600">
              <a:defRPr sz="1400">
                <a:solidFill>
                  <a:srgbClr val="000099"/>
                </a:solidFill>
                <a:latin typeface="DIN-Regular" pitchFamily="34" charset="0"/>
              </a:defRPr>
            </a:lvl3pPr>
            <a:lvl4pPr marL="1600200" indent="-228600">
              <a:defRPr sz="1400">
                <a:solidFill>
                  <a:srgbClr val="000099"/>
                </a:solidFill>
                <a:latin typeface="DIN-Regular" pitchFamily="34" charset="0"/>
              </a:defRPr>
            </a:lvl4pPr>
            <a:lvl5pPr marL="2057400" indent="-228600">
              <a:defRPr sz="1400">
                <a:solidFill>
                  <a:srgbClr val="000099"/>
                </a:solidFill>
                <a:latin typeface="DIN-Regular" pitchFamily="34" charset="0"/>
              </a:defRPr>
            </a:lvl5pPr>
            <a:lvl6pPr marL="25146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1400">
                <a:solidFill>
                  <a:srgbClr val="000099"/>
                </a:solidFill>
                <a:latin typeface="DIN-Regular" pitchFamily="34" charset="0"/>
              </a:defRPr>
            </a:lvl6pPr>
            <a:lvl7pPr marL="29718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1400">
                <a:solidFill>
                  <a:srgbClr val="000099"/>
                </a:solidFill>
                <a:latin typeface="DIN-Regular" pitchFamily="34" charset="0"/>
              </a:defRPr>
            </a:lvl7pPr>
            <a:lvl8pPr marL="34290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1400">
                <a:solidFill>
                  <a:srgbClr val="000099"/>
                </a:solidFill>
                <a:latin typeface="DIN-Regular" pitchFamily="34" charset="0"/>
              </a:defRPr>
            </a:lvl8pPr>
            <a:lvl9pPr marL="38862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1400">
                <a:solidFill>
                  <a:srgbClr val="000099"/>
                </a:solidFill>
                <a:latin typeface="DIN-Regular" pitchFamily="34" charset="0"/>
              </a:defRPr>
            </a:lvl9pPr>
          </a:lstStyle>
          <a:p>
            <a:pPr algn="ctr"/>
            <a:r>
              <a:rPr lang="hu-HU" sz="1600" dirty="0" smtClean="0">
                <a:solidFill>
                  <a:srgbClr val="4D4D4D"/>
                </a:solidFill>
              </a:rPr>
              <a:t>Összesen</a:t>
            </a:r>
            <a:r>
              <a:rPr lang="de-DE" sz="1600" dirty="0" smtClean="0">
                <a:solidFill>
                  <a:srgbClr val="4D4D4D"/>
                </a:solidFill>
              </a:rPr>
              <a:t>:</a:t>
            </a:r>
            <a:endParaRPr lang="de-DE" sz="1600" dirty="0">
              <a:solidFill>
                <a:srgbClr val="4D4D4D"/>
              </a:solidFill>
            </a:endParaRPr>
          </a:p>
          <a:p>
            <a:pPr algn="ctr"/>
            <a:r>
              <a:rPr lang="de-DE" sz="1600" dirty="0">
                <a:solidFill>
                  <a:srgbClr val="4D4D4D"/>
                </a:solidFill>
              </a:rPr>
              <a:t> </a:t>
            </a:r>
            <a:r>
              <a:rPr lang="de-DE" sz="1600" dirty="0" smtClean="0">
                <a:solidFill>
                  <a:srgbClr val="4D4D4D"/>
                </a:solidFill>
              </a:rPr>
              <a:t>&gt;10.000 </a:t>
            </a:r>
            <a:r>
              <a:rPr lang="de-DE" sz="1600" dirty="0">
                <a:solidFill>
                  <a:srgbClr val="4D4D4D"/>
                </a:solidFill>
              </a:rPr>
              <a:t>MW</a:t>
            </a:r>
          </a:p>
        </p:txBody>
      </p:sp>
    </p:spTree>
    <p:extLst>
      <p:ext uri="{BB962C8B-B14F-4D97-AF65-F5344CB8AC3E}">
        <p14:creationId xmlns:p14="http://schemas.microsoft.com/office/powerpoint/2010/main" xmlns="" val="470991660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oliennummernplatzhalter 5"/>
          <p:cNvSpPr txBox="1">
            <a:spLocks noGrp="1"/>
          </p:cNvSpPr>
          <p:nvPr/>
        </p:nvSpPr>
        <p:spPr bwMode="auto">
          <a:xfrm>
            <a:off x="358775" y="6477000"/>
            <a:ext cx="360363" cy="252413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>
              <a:lnSpc>
                <a:spcPct val="110000"/>
              </a:lnSpc>
              <a:spcBef>
                <a:spcPct val="50000"/>
              </a:spcBef>
              <a:defRPr/>
            </a:pPr>
            <a:fld id="{8A4CAE5C-994C-4DE6-BFFA-C0B96638DD77}" type="slidenum">
              <a:rPr lang="de-DE" sz="1200">
                <a:solidFill>
                  <a:srgbClr val="999999"/>
                </a:solidFill>
                <a:latin typeface="DIN-Regular"/>
                <a:cs typeface="+mn-cs"/>
              </a:rPr>
              <a:pPr eaLnBrk="0" hangingPunct="0">
                <a:lnSpc>
                  <a:spcPct val="110000"/>
                </a:lnSpc>
                <a:spcBef>
                  <a:spcPct val="50000"/>
                </a:spcBef>
                <a:defRPr/>
              </a:pPr>
              <a:t>3</a:t>
            </a:fld>
            <a:r>
              <a:rPr lang="de-DE" sz="1200" dirty="0">
                <a:solidFill>
                  <a:srgbClr val="999999"/>
                </a:solidFill>
                <a:latin typeface="DIN-Regular"/>
                <a:cs typeface="+mn-cs"/>
              </a:rPr>
              <a:t> </a:t>
            </a:r>
            <a:endParaRPr lang="de-DE" sz="1600" dirty="0">
              <a:solidFill>
                <a:srgbClr val="B3B3B3"/>
              </a:solidFill>
              <a:latin typeface="Times" pitchFamily="18" charset="0"/>
              <a:cs typeface="+mn-cs"/>
            </a:endParaRPr>
          </a:p>
        </p:txBody>
      </p:sp>
      <p:sp>
        <p:nvSpPr>
          <p:cNvPr id="73" name="Rectangle 3"/>
          <p:cNvSpPr>
            <a:spLocks noChangeAspect="1" noChangeArrowheads="1"/>
          </p:cNvSpPr>
          <p:nvPr/>
        </p:nvSpPr>
        <p:spPr bwMode="auto">
          <a:xfrm>
            <a:off x="528638" y="482600"/>
            <a:ext cx="6478587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r>
              <a:rPr lang="de-DE" sz="2400" dirty="0" smtClean="0">
                <a:latin typeface="DIN-Medium" pitchFamily="34" charset="0"/>
              </a:rPr>
              <a:t>Potentiale und Kraftwerke</a:t>
            </a:r>
          </a:p>
          <a:p>
            <a:r>
              <a:rPr lang="de-DE" sz="1800" i="1" dirty="0" smtClean="0">
                <a:latin typeface="+mj-lt"/>
                <a:ea typeface="+mj-ea"/>
                <a:cs typeface="+mj-cs"/>
              </a:rPr>
              <a:t>Zumeist Doubletten</a:t>
            </a:r>
            <a:endParaRPr lang="de-DE" sz="1800" i="1" dirty="0">
              <a:latin typeface="+mj-lt"/>
              <a:ea typeface="+mj-ea"/>
              <a:cs typeface="+mj-cs"/>
            </a:endParaRPr>
          </a:p>
        </p:txBody>
      </p:sp>
      <p:sp>
        <p:nvSpPr>
          <p:cNvPr id="76" name="Bremen"/>
          <p:cNvSpPr>
            <a:spLocks/>
          </p:cNvSpPr>
          <p:nvPr/>
        </p:nvSpPr>
        <p:spPr bwMode="auto">
          <a:xfrm>
            <a:off x="5766945" y="2741613"/>
            <a:ext cx="187325" cy="185737"/>
          </a:xfrm>
          <a:custGeom>
            <a:avLst/>
            <a:gdLst/>
            <a:ahLst/>
            <a:cxnLst>
              <a:cxn ang="0">
                <a:pos x="0" y="22"/>
              </a:cxn>
              <a:cxn ang="0">
                <a:pos x="0" y="22"/>
              </a:cxn>
              <a:cxn ang="0">
                <a:pos x="16" y="0"/>
              </a:cxn>
              <a:cxn ang="0">
                <a:pos x="78" y="47"/>
              </a:cxn>
              <a:cxn ang="0">
                <a:pos x="96" y="51"/>
              </a:cxn>
              <a:cxn ang="0">
                <a:pos x="102" y="47"/>
              </a:cxn>
              <a:cxn ang="0">
                <a:pos x="98" y="43"/>
              </a:cxn>
              <a:cxn ang="0">
                <a:pos x="98" y="39"/>
              </a:cxn>
              <a:cxn ang="0">
                <a:pos x="100" y="35"/>
              </a:cxn>
              <a:cxn ang="0">
                <a:pos x="113" y="29"/>
              </a:cxn>
              <a:cxn ang="0">
                <a:pos x="127" y="57"/>
              </a:cxn>
              <a:cxn ang="0">
                <a:pos x="127" y="70"/>
              </a:cxn>
              <a:cxn ang="0">
                <a:pos x="131" y="76"/>
              </a:cxn>
              <a:cxn ang="0">
                <a:pos x="131" y="84"/>
              </a:cxn>
              <a:cxn ang="0">
                <a:pos x="109" y="110"/>
              </a:cxn>
              <a:cxn ang="0">
                <a:pos x="107" y="113"/>
              </a:cxn>
              <a:cxn ang="0">
                <a:pos x="100" y="113"/>
              </a:cxn>
              <a:cxn ang="0">
                <a:pos x="90" y="102"/>
              </a:cxn>
              <a:cxn ang="0">
                <a:pos x="74" y="119"/>
              </a:cxn>
              <a:cxn ang="0">
                <a:pos x="33" y="90"/>
              </a:cxn>
              <a:cxn ang="0">
                <a:pos x="21" y="41"/>
              </a:cxn>
              <a:cxn ang="0">
                <a:pos x="0" y="22"/>
              </a:cxn>
              <a:cxn ang="0">
                <a:pos x="0" y="22"/>
              </a:cxn>
              <a:cxn ang="0">
                <a:pos x="0" y="22"/>
              </a:cxn>
            </a:cxnLst>
            <a:rect l="0" t="0" r="r" b="b"/>
            <a:pathLst>
              <a:path w="131" h="119">
                <a:moveTo>
                  <a:pt x="0" y="22"/>
                </a:moveTo>
                <a:lnTo>
                  <a:pt x="0" y="22"/>
                </a:lnTo>
                <a:lnTo>
                  <a:pt x="16" y="0"/>
                </a:lnTo>
                <a:lnTo>
                  <a:pt x="78" y="47"/>
                </a:lnTo>
                <a:lnTo>
                  <a:pt x="96" y="51"/>
                </a:lnTo>
                <a:lnTo>
                  <a:pt x="102" y="47"/>
                </a:lnTo>
                <a:lnTo>
                  <a:pt x="98" y="43"/>
                </a:lnTo>
                <a:lnTo>
                  <a:pt x="98" y="39"/>
                </a:lnTo>
                <a:lnTo>
                  <a:pt x="100" y="35"/>
                </a:lnTo>
                <a:lnTo>
                  <a:pt x="113" y="29"/>
                </a:lnTo>
                <a:lnTo>
                  <a:pt x="127" y="57"/>
                </a:lnTo>
                <a:lnTo>
                  <a:pt x="127" y="70"/>
                </a:lnTo>
                <a:lnTo>
                  <a:pt x="131" y="76"/>
                </a:lnTo>
                <a:lnTo>
                  <a:pt x="131" y="84"/>
                </a:lnTo>
                <a:lnTo>
                  <a:pt x="109" y="110"/>
                </a:lnTo>
                <a:lnTo>
                  <a:pt x="107" y="113"/>
                </a:lnTo>
                <a:lnTo>
                  <a:pt x="100" y="113"/>
                </a:lnTo>
                <a:lnTo>
                  <a:pt x="90" y="102"/>
                </a:lnTo>
                <a:lnTo>
                  <a:pt x="74" y="119"/>
                </a:lnTo>
                <a:lnTo>
                  <a:pt x="33" y="90"/>
                </a:lnTo>
                <a:lnTo>
                  <a:pt x="21" y="41"/>
                </a:lnTo>
                <a:lnTo>
                  <a:pt x="0" y="22"/>
                </a:lnTo>
                <a:close/>
              </a:path>
            </a:pathLst>
          </a:custGeom>
          <a:solidFill>
            <a:srgbClr val="DADAE1"/>
          </a:solidFill>
          <a:ln w="14288">
            <a:solidFill>
              <a:srgbClr val="FFFFFF"/>
            </a:solidFill>
            <a:miter lim="800000"/>
            <a:headEnd/>
            <a:tailEnd/>
          </a:ln>
        </p:spPr>
        <p:txBody>
          <a:bodyPr/>
          <a:lstStyle/>
          <a:p>
            <a:pPr eaLnBrk="0" fontAlgn="auto" hangingPunc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de-DE" sz="800" kern="0">
              <a:solidFill>
                <a:sysClr val="windowText" lastClr="000000"/>
              </a:solidFill>
              <a:latin typeface="DIN-Medium" pitchFamily="34" charset="0"/>
              <a:cs typeface="+mn-cs"/>
            </a:endParaRPr>
          </a:p>
        </p:txBody>
      </p:sp>
      <p:sp>
        <p:nvSpPr>
          <p:cNvPr id="77" name="Bremerhaven"/>
          <p:cNvSpPr>
            <a:spLocks/>
          </p:cNvSpPr>
          <p:nvPr/>
        </p:nvSpPr>
        <p:spPr bwMode="auto">
          <a:xfrm>
            <a:off x="5730433" y="2463800"/>
            <a:ext cx="100012" cy="146050"/>
          </a:xfrm>
          <a:custGeom>
            <a:avLst/>
            <a:gdLst/>
            <a:ahLst/>
            <a:cxnLst>
              <a:cxn ang="0">
                <a:pos x="19" y="0"/>
              </a:cxn>
              <a:cxn ang="0">
                <a:pos x="19" y="0"/>
              </a:cxn>
              <a:cxn ang="0">
                <a:pos x="23" y="12"/>
              </a:cxn>
              <a:cxn ang="0">
                <a:pos x="27" y="12"/>
              </a:cxn>
              <a:cxn ang="0">
                <a:pos x="31" y="12"/>
              </a:cxn>
              <a:cxn ang="0">
                <a:pos x="52" y="2"/>
              </a:cxn>
              <a:cxn ang="0">
                <a:pos x="54" y="2"/>
              </a:cxn>
              <a:cxn ang="0">
                <a:pos x="70" y="22"/>
              </a:cxn>
              <a:cxn ang="0">
                <a:pos x="58" y="32"/>
              </a:cxn>
              <a:cxn ang="0">
                <a:pos x="64" y="80"/>
              </a:cxn>
              <a:cxn ang="0">
                <a:pos x="56" y="92"/>
              </a:cxn>
              <a:cxn ang="0">
                <a:pos x="31" y="94"/>
              </a:cxn>
              <a:cxn ang="0">
                <a:pos x="19" y="61"/>
              </a:cxn>
              <a:cxn ang="0">
                <a:pos x="21" y="59"/>
              </a:cxn>
              <a:cxn ang="0">
                <a:pos x="23" y="41"/>
              </a:cxn>
              <a:cxn ang="0">
                <a:pos x="0" y="12"/>
              </a:cxn>
              <a:cxn ang="0">
                <a:pos x="19" y="0"/>
              </a:cxn>
              <a:cxn ang="0">
                <a:pos x="19" y="0"/>
              </a:cxn>
              <a:cxn ang="0">
                <a:pos x="19" y="0"/>
              </a:cxn>
            </a:cxnLst>
            <a:rect l="0" t="0" r="r" b="b"/>
            <a:pathLst>
              <a:path w="70" h="94">
                <a:moveTo>
                  <a:pt x="19" y="0"/>
                </a:moveTo>
                <a:lnTo>
                  <a:pt x="19" y="0"/>
                </a:lnTo>
                <a:lnTo>
                  <a:pt x="23" y="12"/>
                </a:lnTo>
                <a:lnTo>
                  <a:pt x="27" y="12"/>
                </a:lnTo>
                <a:lnTo>
                  <a:pt x="31" y="12"/>
                </a:lnTo>
                <a:lnTo>
                  <a:pt x="52" y="2"/>
                </a:lnTo>
                <a:lnTo>
                  <a:pt x="54" y="2"/>
                </a:lnTo>
                <a:lnTo>
                  <a:pt x="70" y="22"/>
                </a:lnTo>
                <a:lnTo>
                  <a:pt x="58" y="32"/>
                </a:lnTo>
                <a:lnTo>
                  <a:pt x="64" y="80"/>
                </a:lnTo>
                <a:lnTo>
                  <a:pt x="56" y="92"/>
                </a:lnTo>
                <a:lnTo>
                  <a:pt x="31" y="94"/>
                </a:lnTo>
                <a:lnTo>
                  <a:pt x="19" y="61"/>
                </a:lnTo>
                <a:lnTo>
                  <a:pt x="21" y="59"/>
                </a:lnTo>
                <a:lnTo>
                  <a:pt x="23" y="41"/>
                </a:lnTo>
                <a:lnTo>
                  <a:pt x="0" y="12"/>
                </a:lnTo>
                <a:lnTo>
                  <a:pt x="19" y="0"/>
                </a:lnTo>
                <a:close/>
              </a:path>
            </a:pathLst>
          </a:custGeom>
          <a:solidFill>
            <a:srgbClr val="DADAE1"/>
          </a:solidFill>
          <a:ln w="14288">
            <a:solidFill>
              <a:srgbClr val="FFFFFF"/>
            </a:solidFill>
            <a:miter lim="800000"/>
            <a:headEnd/>
            <a:tailEnd/>
          </a:ln>
        </p:spPr>
        <p:txBody>
          <a:bodyPr/>
          <a:lstStyle/>
          <a:p>
            <a:pPr eaLnBrk="0" fontAlgn="auto" hangingPunc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de-DE" sz="800" kern="0">
              <a:solidFill>
                <a:sysClr val="windowText" lastClr="000000"/>
              </a:solidFill>
              <a:latin typeface="DIN-Medium" pitchFamily="34" charset="0"/>
              <a:cs typeface="+mn-cs"/>
            </a:endParaRPr>
          </a:p>
        </p:txBody>
      </p:sp>
      <p:grpSp>
        <p:nvGrpSpPr>
          <p:cNvPr id="78" name="Gruppieren 83"/>
          <p:cNvGrpSpPr/>
          <p:nvPr/>
        </p:nvGrpSpPr>
        <p:grpSpPr>
          <a:xfrm>
            <a:off x="4716016" y="1628800"/>
            <a:ext cx="3563462" cy="5110162"/>
            <a:chOff x="412750" y="1179513"/>
            <a:chExt cx="3860800" cy="5110162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79" name="Sachsen-Anhalt"/>
            <p:cNvSpPr>
              <a:spLocks/>
            </p:cNvSpPr>
            <p:nvPr/>
          </p:nvSpPr>
          <p:spPr bwMode="auto">
            <a:xfrm>
              <a:off x="2389188" y="2433638"/>
              <a:ext cx="1090612" cy="1395412"/>
            </a:xfrm>
            <a:custGeom>
              <a:avLst/>
              <a:gdLst/>
              <a:ahLst/>
              <a:cxnLst>
                <a:cxn ang="0">
                  <a:pos x="280" y="6"/>
                </a:cxn>
                <a:cxn ang="0">
                  <a:pos x="358" y="61"/>
                </a:cxn>
                <a:cxn ang="0">
                  <a:pos x="442" y="80"/>
                </a:cxn>
                <a:cxn ang="0">
                  <a:pos x="428" y="125"/>
                </a:cxn>
                <a:cxn ang="0">
                  <a:pos x="440" y="168"/>
                </a:cxn>
                <a:cxn ang="0">
                  <a:pos x="417" y="209"/>
                </a:cxn>
                <a:cxn ang="0">
                  <a:pos x="436" y="223"/>
                </a:cxn>
                <a:cxn ang="0">
                  <a:pos x="458" y="233"/>
                </a:cxn>
                <a:cxn ang="0">
                  <a:pos x="466" y="350"/>
                </a:cxn>
                <a:cxn ang="0">
                  <a:pos x="446" y="375"/>
                </a:cxn>
                <a:cxn ang="0">
                  <a:pos x="499" y="430"/>
                </a:cxn>
                <a:cxn ang="0">
                  <a:pos x="514" y="430"/>
                </a:cxn>
                <a:cxn ang="0">
                  <a:pos x="536" y="448"/>
                </a:cxn>
                <a:cxn ang="0">
                  <a:pos x="692" y="504"/>
                </a:cxn>
                <a:cxn ang="0">
                  <a:pos x="690" y="590"/>
                </a:cxn>
                <a:cxn ang="0">
                  <a:pos x="659" y="586"/>
                </a:cxn>
                <a:cxn ang="0">
                  <a:pos x="643" y="590"/>
                </a:cxn>
                <a:cxn ang="0">
                  <a:pos x="573" y="590"/>
                </a:cxn>
                <a:cxn ang="0">
                  <a:pos x="530" y="618"/>
                </a:cxn>
                <a:cxn ang="0">
                  <a:pos x="434" y="666"/>
                </a:cxn>
                <a:cxn ang="0">
                  <a:pos x="438" y="750"/>
                </a:cxn>
                <a:cxn ang="0">
                  <a:pos x="475" y="889"/>
                </a:cxn>
                <a:cxn ang="0">
                  <a:pos x="462" y="895"/>
                </a:cxn>
                <a:cxn ang="0">
                  <a:pos x="436" y="885"/>
                </a:cxn>
                <a:cxn ang="0">
                  <a:pos x="247" y="801"/>
                </a:cxn>
                <a:cxn ang="0">
                  <a:pos x="225" y="780"/>
                </a:cxn>
                <a:cxn ang="0">
                  <a:pos x="243" y="762"/>
                </a:cxn>
                <a:cxn ang="0">
                  <a:pos x="114" y="692"/>
                </a:cxn>
                <a:cxn ang="0">
                  <a:pos x="88" y="647"/>
                </a:cxn>
                <a:cxn ang="0">
                  <a:pos x="12" y="604"/>
                </a:cxn>
                <a:cxn ang="0">
                  <a:pos x="18" y="508"/>
                </a:cxn>
                <a:cxn ang="0">
                  <a:pos x="18" y="438"/>
                </a:cxn>
                <a:cxn ang="0">
                  <a:pos x="92" y="412"/>
                </a:cxn>
                <a:cxn ang="0">
                  <a:pos x="106" y="350"/>
                </a:cxn>
                <a:cxn ang="0">
                  <a:pos x="116" y="250"/>
                </a:cxn>
                <a:cxn ang="0">
                  <a:pos x="69" y="160"/>
                </a:cxn>
                <a:cxn ang="0">
                  <a:pos x="51" y="92"/>
                </a:cxn>
                <a:cxn ang="0">
                  <a:pos x="100" y="84"/>
                </a:cxn>
                <a:cxn ang="0">
                  <a:pos x="223" y="61"/>
                </a:cxn>
                <a:cxn ang="0">
                  <a:pos x="229" y="47"/>
                </a:cxn>
                <a:cxn ang="0">
                  <a:pos x="280" y="6"/>
                </a:cxn>
                <a:cxn ang="0">
                  <a:pos x="280" y="6"/>
                </a:cxn>
              </a:cxnLst>
              <a:rect l="0" t="0" r="r" b="b"/>
              <a:pathLst>
                <a:path w="700" h="895">
                  <a:moveTo>
                    <a:pt x="280" y="6"/>
                  </a:moveTo>
                  <a:lnTo>
                    <a:pt x="280" y="6"/>
                  </a:lnTo>
                  <a:lnTo>
                    <a:pt x="282" y="10"/>
                  </a:lnTo>
                  <a:lnTo>
                    <a:pt x="358" y="61"/>
                  </a:lnTo>
                  <a:lnTo>
                    <a:pt x="393" y="59"/>
                  </a:lnTo>
                  <a:lnTo>
                    <a:pt x="442" y="80"/>
                  </a:lnTo>
                  <a:lnTo>
                    <a:pt x="448" y="111"/>
                  </a:lnTo>
                  <a:lnTo>
                    <a:pt x="428" y="125"/>
                  </a:lnTo>
                  <a:lnTo>
                    <a:pt x="442" y="156"/>
                  </a:lnTo>
                  <a:lnTo>
                    <a:pt x="440" y="168"/>
                  </a:lnTo>
                  <a:lnTo>
                    <a:pt x="417" y="195"/>
                  </a:lnTo>
                  <a:lnTo>
                    <a:pt x="417" y="209"/>
                  </a:lnTo>
                  <a:lnTo>
                    <a:pt x="425" y="219"/>
                  </a:lnTo>
                  <a:lnTo>
                    <a:pt x="436" y="223"/>
                  </a:lnTo>
                  <a:lnTo>
                    <a:pt x="444" y="223"/>
                  </a:lnTo>
                  <a:lnTo>
                    <a:pt x="458" y="233"/>
                  </a:lnTo>
                  <a:lnTo>
                    <a:pt x="456" y="340"/>
                  </a:lnTo>
                  <a:lnTo>
                    <a:pt x="466" y="350"/>
                  </a:lnTo>
                  <a:lnTo>
                    <a:pt x="446" y="369"/>
                  </a:lnTo>
                  <a:lnTo>
                    <a:pt x="446" y="375"/>
                  </a:lnTo>
                  <a:lnTo>
                    <a:pt x="495" y="430"/>
                  </a:lnTo>
                  <a:lnTo>
                    <a:pt x="499" y="430"/>
                  </a:lnTo>
                  <a:lnTo>
                    <a:pt x="505" y="428"/>
                  </a:lnTo>
                  <a:lnTo>
                    <a:pt x="514" y="430"/>
                  </a:lnTo>
                  <a:lnTo>
                    <a:pt x="528" y="444"/>
                  </a:lnTo>
                  <a:lnTo>
                    <a:pt x="536" y="448"/>
                  </a:lnTo>
                  <a:lnTo>
                    <a:pt x="563" y="440"/>
                  </a:lnTo>
                  <a:lnTo>
                    <a:pt x="692" y="504"/>
                  </a:lnTo>
                  <a:lnTo>
                    <a:pt x="700" y="563"/>
                  </a:lnTo>
                  <a:lnTo>
                    <a:pt x="690" y="590"/>
                  </a:lnTo>
                  <a:lnTo>
                    <a:pt x="681" y="592"/>
                  </a:lnTo>
                  <a:lnTo>
                    <a:pt x="659" y="586"/>
                  </a:lnTo>
                  <a:lnTo>
                    <a:pt x="653" y="590"/>
                  </a:lnTo>
                  <a:lnTo>
                    <a:pt x="643" y="590"/>
                  </a:lnTo>
                  <a:lnTo>
                    <a:pt x="618" y="578"/>
                  </a:lnTo>
                  <a:lnTo>
                    <a:pt x="573" y="590"/>
                  </a:lnTo>
                  <a:lnTo>
                    <a:pt x="557" y="608"/>
                  </a:lnTo>
                  <a:lnTo>
                    <a:pt x="530" y="618"/>
                  </a:lnTo>
                  <a:lnTo>
                    <a:pt x="446" y="645"/>
                  </a:lnTo>
                  <a:lnTo>
                    <a:pt x="434" y="666"/>
                  </a:lnTo>
                  <a:lnTo>
                    <a:pt x="450" y="717"/>
                  </a:lnTo>
                  <a:lnTo>
                    <a:pt x="438" y="750"/>
                  </a:lnTo>
                  <a:lnTo>
                    <a:pt x="479" y="860"/>
                  </a:lnTo>
                  <a:lnTo>
                    <a:pt x="475" y="889"/>
                  </a:lnTo>
                  <a:lnTo>
                    <a:pt x="468" y="895"/>
                  </a:lnTo>
                  <a:lnTo>
                    <a:pt x="462" y="895"/>
                  </a:lnTo>
                  <a:lnTo>
                    <a:pt x="452" y="891"/>
                  </a:lnTo>
                  <a:lnTo>
                    <a:pt x="436" y="885"/>
                  </a:lnTo>
                  <a:lnTo>
                    <a:pt x="270" y="834"/>
                  </a:lnTo>
                  <a:lnTo>
                    <a:pt x="247" y="801"/>
                  </a:lnTo>
                  <a:lnTo>
                    <a:pt x="233" y="795"/>
                  </a:lnTo>
                  <a:lnTo>
                    <a:pt x="225" y="780"/>
                  </a:lnTo>
                  <a:lnTo>
                    <a:pt x="229" y="772"/>
                  </a:lnTo>
                  <a:lnTo>
                    <a:pt x="243" y="762"/>
                  </a:lnTo>
                  <a:lnTo>
                    <a:pt x="223" y="723"/>
                  </a:lnTo>
                  <a:lnTo>
                    <a:pt x="114" y="692"/>
                  </a:lnTo>
                  <a:lnTo>
                    <a:pt x="98" y="651"/>
                  </a:lnTo>
                  <a:lnTo>
                    <a:pt x="88" y="647"/>
                  </a:lnTo>
                  <a:lnTo>
                    <a:pt x="88" y="614"/>
                  </a:lnTo>
                  <a:lnTo>
                    <a:pt x="12" y="604"/>
                  </a:lnTo>
                  <a:lnTo>
                    <a:pt x="0" y="549"/>
                  </a:lnTo>
                  <a:lnTo>
                    <a:pt x="18" y="508"/>
                  </a:lnTo>
                  <a:lnTo>
                    <a:pt x="8" y="473"/>
                  </a:lnTo>
                  <a:lnTo>
                    <a:pt x="18" y="438"/>
                  </a:lnTo>
                  <a:lnTo>
                    <a:pt x="38" y="424"/>
                  </a:lnTo>
                  <a:lnTo>
                    <a:pt x="92" y="412"/>
                  </a:lnTo>
                  <a:lnTo>
                    <a:pt x="116" y="365"/>
                  </a:lnTo>
                  <a:lnTo>
                    <a:pt x="106" y="350"/>
                  </a:lnTo>
                  <a:lnTo>
                    <a:pt x="104" y="264"/>
                  </a:lnTo>
                  <a:lnTo>
                    <a:pt x="116" y="250"/>
                  </a:lnTo>
                  <a:lnTo>
                    <a:pt x="94" y="166"/>
                  </a:lnTo>
                  <a:lnTo>
                    <a:pt x="69" y="160"/>
                  </a:lnTo>
                  <a:lnTo>
                    <a:pt x="47" y="123"/>
                  </a:lnTo>
                  <a:lnTo>
                    <a:pt x="51" y="92"/>
                  </a:lnTo>
                  <a:lnTo>
                    <a:pt x="100" y="90"/>
                  </a:lnTo>
                  <a:lnTo>
                    <a:pt x="100" y="84"/>
                  </a:lnTo>
                  <a:lnTo>
                    <a:pt x="114" y="72"/>
                  </a:lnTo>
                  <a:lnTo>
                    <a:pt x="223" y="61"/>
                  </a:lnTo>
                  <a:lnTo>
                    <a:pt x="229" y="51"/>
                  </a:lnTo>
                  <a:lnTo>
                    <a:pt x="229" y="47"/>
                  </a:lnTo>
                  <a:lnTo>
                    <a:pt x="270" y="0"/>
                  </a:lnTo>
                  <a:lnTo>
                    <a:pt x="280" y="6"/>
                  </a:lnTo>
                  <a:close/>
                </a:path>
              </a:pathLst>
            </a:custGeom>
            <a:solidFill>
              <a:srgbClr val="DADAE1"/>
            </a:solidFill>
            <a:ln w="14288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pPr eaLnBrk="0" fontAlgn="auto" hangingPunct="0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sz="800" kern="0">
                <a:solidFill>
                  <a:sysClr val="windowText" lastClr="000000"/>
                </a:solidFill>
                <a:latin typeface="DIN-Medium" pitchFamily="34" charset="0"/>
                <a:cs typeface="+mn-cs"/>
              </a:endParaRPr>
            </a:p>
          </p:txBody>
        </p:sp>
        <p:sp>
          <p:nvSpPr>
            <p:cNvPr id="80" name="Thüringen"/>
            <p:cNvSpPr>
              <a:spLocks/>
            </p:cNvSpPr>
            <p:nvPr/>
          </p:nvSpPr>
          <p:spPr bwMode="auto">
            <a:xfrm>
              <a:off x="2098675" y="3368675"/>
              <a:ext cx="1185863" cy="1003300"/>
            </a:xfrm>
            <a:custGeom>
              <a:avLst/>
              <a:gdLst/>
              <a:ahLst/>
              <a:cxnLst>
                <a:cxn ang="0">
                  <a:pos x="117" y="64"/>
                </a:cxn>
                <a:cxn ang="0">
                  <a:pos x="23" y="123"/>
                </a:cxn>
                <a:cxn ang="0">
                  <a:pos x="80" y="195"/>
                </a:cxn>
                <a:cxn ang="0">
                  <a:pos x="78" y="209"/>
                </a:cxn>
                <a:cxn ang="0">
                  <a:pos x="62" y="219"/>
                </a:cxn>
                <a:cxn ang="0">
                  <a:pos x="39" y="219"/>
                </a:cxn>
                <a:cxn ang="0">
                  <a:pos x="45" y="264"/>
                </a:cxn>
                <a:cxn ang="0">
                  <a:pos x="2" y="301"/>
                </a:cxn>
                <a:cxn ang="0">
                  <a:pos x="6" y="320"/>
                </a:cxn>
                <a:cxn ang="0">
                  <a:pos x="4" y="393"/>
                </a:cxn>
                <a:cxn ang="0">
                  <a:pos x="15" y="414"/>
                </a:cxn>
                <a:cxn ang="0">
                  <a:pos x="64" y="500"/>
                </a:cxn>
                <a:cxn ang="0">
                  <a:pos x="88" y="500"/>
                </a:cxn>
                <a:cxn ang="0">
                  <a:pos x="105" y="514"/>
                </a:cxn>
                <a:cxn ang="0">
                  <a:pos x="119" y="520"/>
                </a:cxn>
                <a:cxn ang="0">
                  <a:pos x="203" y="610"/>
                </a:cxn>
                <a:cxn ang="0">
                  <a:pos x="260" y="625"/>
                </a:cxn>
                <a:cxn ang="0">
                  <a:pos x="277" y="621"/>
                </a:cxn>
                <a:cxn ang="0">
                  <a:pos x="279" y="600"/>
                </a:cxn>
                <a:cxn ang="0">
                  <a:pos x="305" y="559"/>
                </a:cxn>
                <a:cxn ang="0">
                  <a:pos x="311" y="561"/>
                </a:cxn>
                <a:cxn ang="0">
                  <a:pos x="330" y="580"/>
                </a:cxn>
                <a:cxn ang="0">
                  <a:pos x="348" y="610"/>
                </a:cxn>
                <a:cxn ang="0">
                  <a:pos x="385" y="525"/>
                </a:cxn>
                <a:cxn ang="0">
                  <a:pos x="397" y="506"/>
                </a:cxn>
                <a:cxn ang="0">
                  <a:pos x="426" y="545"/>
                </a:cxn>
                <a:cxn ang="0">
                  <a:pos x="500" y="533"/>
                </a:cxn>
                <a:cxn ang="0">
                  <a:pos x="512" y="533"/>
                </a:cxn>
                <a:cxn ang="0">
                  <a:pos x="524" y="528"/>
                </a:cxn>
                <a:cxn ang="0">
                  <a:pos x="533" y="539"/>
                </a:cxn>
                <a:cxn ang="0">
                  <a:pos x="576" y="530"/>
                </a:cxn>
                <a:cxn ang="0">
                  <a:pos x="572" y="508"/>
                </a:cxn>
                <a:cxn ang="0">
                  <a:pos x="584" y="494"/>
                </a:cxn>
                <a:cxn ang="0">
                  <a:pos x="559" y="473"/>
                </a:cxn>
                <a:cxn ang="0">
                  <a:pos x="600" y="438"/>
                </a:cxn>
                <a:cxn ang="0">
                  <a:pos x="604" y="459"/>
                </a:cxn>
                <a:cxn ang="0">
                  <a:pos x="643" y="428"/>
                </a:cxn>
                <a:cxn ang="0">
                  <a:pos x="670" y="424"/>
                </a:cxn>
                <a:cxn ang="0">
                  <a:pos x="647" y="387"/>
                </a:cxn>
                <a:cxn ang="0">
                  <a:pos x="707" y="340"/>
                </a:cxn>
                <a:cxn ang="0">
                  <a:pos x="756" y="311"/>
                </a:cxn>
                <a:cxn ang="0">
                  <a:pos x="684" y="236"/>
                </a:cxn>
                <a:cxn ang="0">
                  <a:pos x="662" y="252"/>
                </a:cxn>
                <a:cxn ang="0">
                  <a:pos x="662" y="287"/>
                </a:cxn>
                <a:cxn ang="0">
                  <a:pos x="456" y="232"/>
                </a:cxn>
                <a:cxn ang="0">
                  <a:pos x="416" y="190"/>
                </a:cxn>
                <a:cxn ang="0">
                  <a:pos x="430" y="165"/>
                </a:cxn>
                <a:cxn ang="0">
                  <a:pos x="402" y="121"/>
                </a:cxn>
                <a:cxn ang="0">
                  <a:pos x="287" y="53"/>
                </a:cxn>
                <a:cxn ang="0">
                  <a:pos x="275" y="14"/>
                </a:cxn>
                <a:cxn ang="0">
                  <a:pos x="203" y="4"/>
                </a:cxn>
                <a:cxn ang="0">
                  <a:pos x="195" y="21"/>
                </a:cxn>
                <a:cxn ang="0">
                  <a:pos x="180" y="25"/>
                </a:cxn>
                <a:cxn ang="0">
                  <a:pos x="113" y="47"/>
                </a:cxn>
                <a:cxn ang="0">
                  <a:pos x="117" y="64"/>
                </a:cxn>
              </a:cxnLst>
              <a:rect l="0" t="0" r="r" b="b"/>
              <a:pathLst>
                <a:path w="762" h="643">
                  <a:moveTo>
                    <a:pt x="117" y="64"/>
                  </a:moveTo>
                  <a:lnTo>
                    <a:pt x="117" y="64"/>
                  </a:lnTo>
                  <a:lnTo>
                    <a:pt x="31" y="111"/>
                  </a:lnTo>
                  <a:lnTo>
                    <a:pt x="23" y="123"/>
                  </a:lnTo>
                  <a:lnTo>
                    <a:pt x="21" y="150"/>
                  </a:lnTo>
                  <a:lnTo>
                    <a:pt x="80" y="195"/>
                  </a:lnTo>
                  <a:lnTo>
                    <a:pt x="82" y="203"/>
                  </a:lnTo>
                  <a:lnTo>
                    <a:pt x="78" y="209"/>
                  </a:lnTo>
                  <a:lnTo>
                    <a:pt x="64" y="211"/>
                  </a:lnTo>
                  <a:lnTo>
                    <a:pt x="62" y="219"/>
                  </a:lnTo>
                  <a:lnTo>
                    <a:pt x="58" y="219"/>
                  </a:lnTo>
                  <a:lnTo>
                    <a:pt x="39" y="219"/>
                  </a:lnTo>
                  <a:lnTo>
                    <a:pt x="56" y="262"/>
                  </a:lnTo>
                  <a:lnTo>
                    <a:pt x="45" y="264"/>
                  </a:lnTo>
                  <a:lnTo>
                    <a:pt x="10" y="301"/>
                  </a:lnTo>
                  <a:lnTo>
                    <a:pt x="2" y="301"/>
                  </a:lnTo>
                  <a:lnTo>
                    <a:pt x="0" y="309"/>
                  </a:lnTo>
                  <a:lnTo>
                    <a:pt x="6" y="320"/>
                  </a:lnTo>
                  <a:lnTo>
                    <a:pt x="37" y="328"/>
                  </a:lnTo>
                  <a:lnTo>
                    <a:pt x="4" y="393"/>
                  </a:lnTo>
                  <a:lnTo>
                    <a:pt x="6" y="406"/>
                  </a:lnTo>
                  <a:lnTo>
                    <a:pt x="15" y="414"/>
                  </a:lnTo>
                  <a:lnTo>
                    <a:pt x="53" y="420"/>
                  </a:lnTo>
                  <a:lnTo>
                    <a:pt x="64" y="500"/>
                  </a:lnTo>
                  <a:lnTo>
                    <a:pt x="66" y="500"/>
                  </a:lnTo>
                  <a:lnTo>
                    <a:pt x="88" y="500"/>
                  </a:lnTo>
                  <a:lnTo>
                    <a:pt x="96" y="502"/>
                  </a:lnTo>
                  <a:lnTo>
                    <a:pt x="105" y="514"/>
                  </a:lnTo>
                  <a:lnTo>
                    <a:pt x="105" y="522"/>
                  </a:lnTo>
                  <a:lnTo>
                    <a:pt x="119" y="520"/>
                  </a:lnTo>
                  <a:lnTo>
                    <a:pt x="209" y="586"/>
                  </a:lnTo>
                  <a:lnTo>
                    <a:pt x="203" y="610"/>
                  </a:lnTo>
                  <a:lnTo>
                    <a:pt x="259" y="643"/>
                  </a:lnTo>
                  <a:lnTo>
                    <a:pt x="260" y="625"/>
                  </a:lnTo>
                  <a:lnTo>
                    <a:pt x="262" y="621"/>
                  </a:lnTo>
                  <a:lnTo>
                    <a:pt x="277" y="621"/>
                  </a:lnTo>
                  <a:lnTo>
                    <a:pt x="281" y="606"/>
                  </a:lnTo>
                  <a:lnTo>
                    <a:pt x="279" y="600"/>
                  </a:lnTo>
                  <a:lnTo>
                    <a:pt x="258" y="596"/>
                  </a:lnTo>
                  <a:lnTo>
                    <a:pt x="305" y="559"/>
                  </a:lnTo>
                  <a:lnTo>
                    <a:pt x="309" y="559"/>
                  </a:lnTo>
                  <a:lnTo>
                    <a:pt x="311" y="561"/>
                  </a:lnTo>
                  <a:lnTo>
                    <a:pt x="309" y="580"/>
                  </a:lnTo>
                  <a:lnTo>
                    <a:pt x="330" y="580"/>
                  </a:lnTo>
                  <a:lnTo>
                    <a:pt x="342" y="608"/>
                  </a:lnTo>
                  <a:lnTo>
                    <a:pt x="348" y="610"/>
                  </a:lnTo>
                  <a:lnTo>
                    <a:pt x="395" y="594"/>
                  </a:lnTo>
                  <a:lnTo>
                    <a:pt x="385" y="525"/>
                  </a:lnTo>
                  <a:lnTo>
                    <a:pt x="381" y="514"/>
                  </a:lnTo>
                  <a:lnTo>
                    <a:pt x="397" y="506"/>
                  </a:lnTo>
                  <a:lnTo>
                    <a:pt x="414" y="514"/>
                  </a:lnTo>
                  <a:lnTo>
                    <a:pt x="426" y="545"/>
                  </a:lnTo>
                  <a:lnTo>
                    <a:pt x="473" y="547"/>
                  </a:lnTo>
                  <a:lnTo>
                    <a:pt x="500" y="533"/>
                  </a:lnTo>
                  <a:lnTo>
                    <a:pt x="510" y="539"/>
                  </a:lnTo>
                  <a:lnTo>
                    <a:pt x="512" y="533"/>
                  </a:lnTo>
                  <a:lnTo>
                    <a:pt x="520" y="528"/>
                  </a:lnTo>
                  <a:lnTo>
                    <a:pt x="524" y="528"/>
                  </a:lnTo>
                  <a:lnTo>
                    <a:pt x="533" y="535"/>
                  </a:lnTo>
                  <a:lnTo>
                    <a:pt x="533" y="539"/>
                  </a:lnTo>
                  <a:lnTo>
                    <a:pt x="535" y="541"/>
                  </a:lnTo>
                  <a:lnTo>
                    <a:pt x="576" y="530"/>
                  </a:lnTo>
                  <a:lnTo>
                    <a:pt x="565" y="514"/>
                  </a:lnTo>
                  <a:lnTo>
                    <a:pt x="572" y="508"/>
                  </a:lnTo>
                  <a:lnTo>
                    <a:pt x="580" y="504"/>
                  </a:lnTo>
                  <a:lnTo>
                    <a:pt x="584" y="494"/>
                  </a:lnTo>
                  <a:lnTo>
                    <a:pt x="580" y="485"/>
                  </a:lnTo>
                  <a:lnTo>
                    <a:pt x="559" y="473"/>
                  </a:lnTo>
                  <a:lnTo>
                    <a:pt x="582" y="444"/>
                  </a:lnTo>
                  <a:lnTo>
                    <a:pt x="600" y="438"/>
                  </a:lnTo>
                  <a:lnTo>
                    <a:pt x="604" y="440"/>
                  </a:lnTo>
                  <a:lnTo>
                    <a:pt x="604" y="459"/>
                  </a:lnTo>
                  <a:lnTo>
                    <a:pt x="619" y="461"/>
                  </a:lnTo>
                  <a:lnTo>
                    <a:pt x="643" y="428"/>
                  </a:lnTo>
                  <a:lnTo>
                    <a:pt x="668" y="426"/>
                  </a:lnTo>
                  <a:lnTo>
                    <a:pt x="670" y="424"/>
                  </a:lnTo>
                  <a:lnTo>
                    <a:pt x="670" y="418"/>
                  </a:lnTo>
                  <a:lnTo>
                    <a:pt x="647" y="387"/>
                  </a:lnTo>
                  <a:lnTo>
                    <a:pt x="655" y="354"/>
                  </a:lnTo>
                  <a:lnTo>
                    <a:pt x="707" y="340"/>
                  </a:lnTo>
                  <a:lnTo>
                    <a:pt x="721" y="326"/>
                  </a:lnTo>
                  <a:lnTo>
                    <a:pt x="756" y="311"/>
                  </a:lnTo>
                  <a:lnTo>
                    <a:pt x="762" y="303"/>
                  </a:lnTo>
                  <a:lnTo>
                    <a:pt x="684" y="236"/>
                  </a:lnTo>
                  <a:lnTo>
                    <a:pt x="660" y="234"/>
                  </a:lnTo>
                  <a:lnTo>
                    <a:pt x="662" y="252"/>
                  </a:lnTo>
                  <a:lnTo>
                    <a:pt x="666" y="279"/>
                  </a:lnTo>
                  <a:lnTo>
                    <a:pt x="662" y="287"/>
                  </a:lnTo>
                  <a:lnTo>
                    <a:pt x="649" y="295"/>
                  </a:lnTo>
                  <a:lnTo>
                    <a:pt x="456" y="232"/>
                  </a:lnTo>
                  <a:lnTo>
                    <a:pt x="440" y="205"/>
                  </a:lnTo>
                  <a:lnTo>
                    <a:pt x="416" y="190"/>
                  </a:lnTo>
                  <a:lnTo>
                    <a:pt x="410" y="180"/>
                  </a:lnTo>
                  <a:lnTo>
                    <a:pt x="430" y="165"/>
                  </a:lnTo>
                  <a:lnTo>
                    <a:pt x="414" y="124"/>
                  </a:lnTo>
                  <a:lnTo>
                    <a:pt x="402" y="121"/>
                  </a:lnTo>
                  <a:lnTo>
                    <a:pt x="300" y="88"/>
                  </a:lnTo>
                  <a:lnTo>
                    <a:pt x="287" y="53"/>
                  </a:lnTo>
                  <a:lnTo>
                    <a:pt x="273" y="43"/>
                  </a:lnTo>
                  <a:lnTo>
                    <a:pt x="275" y="14"/>
                  </a:lnTo>
                  <a:lnTo>
                    <a:pt x="209" y="2"/>
                  </a:lnTo>
                  <a:lnTo>
                    <a:pt x="203" y="4"/>
                  </a:lnTo>
                  <a:lnTo>
                    <a:pt x="197" y="10"/>
                  </a:lnTo>
                  <a:lnTo>
                    <a:pt x="195" y="21"/>
                  </a:lnTo>
                  <a:lnTo>
                    <a:pt x="189" y="25"/>
                  </a:lnTo>
                  <a:lnTo>
                    <a:pt x="180" y="25"/>
                  </a:lnTo>
                  <a:lnTo>
                    <a:pt x="133" y="0"/>
                  </a:lnTo>
                  <a:lnTo>
                    <a:pt x="113" y="47"/>
                  </a:lnTo>
                  <a:lnTo>
                    <a:pt x="117" y="64"/>
                  </a:lnTo>
                  <a:close/>
                </a:path>
              </a:pathLst>
            </a:custGeom>
            <a:solidFill>
              <a:srgbClr val="DADAE1"/>
            </a:solidFill>
            <a:ln w="14288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pPr eaLnBrk="0" fontAlgn="auto" hangingPunct="0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sz="800" kern="0">
                <a:solidFill>
                  <a:sysClr val="windowText" lastClr="000000"/>
                </a:solidFill>
                <a:latin typeface="DIN-Medium" pitchFamily="34" charset="0"/>
                <a:cs typeface="+mn-cs"/>
              </a:endParaRPr>
            </a:p>
          </p:txBody>
        </p:sp>
        <p:sp>
          <p:nvSpPr>
            <p:cNvPr id="81" name="Hessen"/>
            <p:cNvSpPr>
              <a:spLocks/>
            </p:cNvSpPr>
            <p:nvPr/>
          </p:nvSpPr>
          <p:spPr bwMode="auto">
            <a:xfrm>
              <a:off x="1169988" y="3360738"/>
              <a:ext cx="1052512" cy="1492250"/>
            </a:xfrm>
            <a:custGeom>
              <a:avLst/>
              <a:gdLst/>
              <a:ahLst/>
              <a:cxnLst>
                <a:cxn ang="0">
                  <a:pos x="123" y="370"/>
                </a:cxn>
                <a:cxn ang="0">
                  <a:pos x="160" y="310"/>
                </a:cxn>
                <a:cxn ang="0">
                  <a:pos x="203" y="255"/>
                </a:cxn>
                <a:cxn ang="0">
                  <a:pos x="215" y="220"/>
                </a:cxn>
                <a:cxn ang="0">
                  <a:pos x="271" y="206"/>
                </a:cxn>
                <a:cxn ang="0">
                  <a:pos x="289" y="155"/>
                </a:cxn>
                <a:cxn ang="0">
                  <a:pos x="244" y="152"/>
                </a:cxn>
                <a:cxn ang="0">
                  <a:pos x="320" y="114"/>
                </a:cxn>
                <a:cxn ang="0">
                  <a:pos x="326" y="75"/>
                </a:cxn>
                <a:cxn ang="0">
                  <a:pos x="369" y="71"/>
                </a:cxn>
                <a:cxn ang="0">
                  <a:pos x="400" y="85"/>
                </a:cxn>
                <a:cxn ang="0">
                  <a:pos x="447" y="8"/>
                </a:cxn>
                <a:cxn ang="0">
                  <a:pos x="539" y="36"/>
                </a:cxn>
                <a:cxn ang="0">
                  <a:pos x="531" y="91"/>
                </a:cxn>
                <a:cxn ang="0">
                  <a:pos x="500" y="132"/>
                </a:cxn>
                <a:cxn ang="0">
                  <a:pos x="557" y="146"/>
                </a:cxn>
                <a:cxn ang="0">
                  <a:pos x="574" y="114"/>
                </a:cxn>
                <a:cxn ang="0">
                  <a:pos x="582" y="97"/>
                </a:cxn>
                <a:cxn ang="0">
                  <a:pos x="674" y="202"/>
                </a:cxn>
                <a:cxn ang="0">
                  <a:pos x="637" y="224"/>
                </a:cxn>
                <a:cxn ang="0">
                  <a:pos x="606" y="304"/>
                </a:cxn>
                <a:cxn ang="0">
                  <a:pos x="602" y="325"/>
                </a:cxn>
                <a:cxn ang="0">
                  <a:pos x="617" y="368"/>
                </a:cxn>
                <a:cxn ang="0">
                  <a:pos x="654" y="446"/>
                </a:cxn>
                <a:cxn ang="0">
                  <a:pos x="596" y="544"/>
                </a:cxn>
                <a:cxn ang="0">
                  <a:pos x="573" y="536"/>
                </a:cxn>
                <a:cxn ang="0">
                  <a:pos x="498" y="597"/>
                </a:cxn>
                <a:cxn ang="0">
                  <a:pos x="475" y="652"/>
                </a:cxn>
                <a:cxn ang="0">
                  <a:pos x="449" y="636"/>
                </a:cxn>
                <a:cxn ang="0">
                  <a:pos x="394" y="654"/>
                </a:cxn>
                <a:cxn ang="0">
                  <a:pos x="348" y="664"/>
                </a:cxn>
                <a:cxn ang="0">
                  <a:pos x="359" y="703"/>
                </a:cxn>
                <a:cxn ang="0">
                  <a:pos x="363" y="884"/>
                </a:cxn>
                <a:cxn ang="0">
                  <a:pos x="355" y="910"/>
                </a:cxn>
                <a:cxn ang="0">
                  <a:pos x="322" y="929"/>
                </a:cxn>
                <a:cxn ang="0">
                  <a:pos x="281" y="945"/>
                </a:cxn>
                <a:cxn ang="0">
                  <a:pos x="308" y="894"/>
                </a:cxn>
                <a:cxn ang="0">
                  <a:pos x="248" y="861"/>
                </a:cxn>
                <a:cxn ang="0">
                  <a:pos x="222" y="882"/>
                </a:cxn>
                <a:cxn ang="0">
                  <a:pos x="181" y="834"/>
                </a:cxn>
                <a:cxn ang="0">
                  <a:pos x="150" y="671"/>
                </a:cxn>
                <a:cxn ang="0">
                  <a:pos x="25" y="689"/>
                </a:cxn>
                <a:cxn ang="0">
                  <a:pos x="37" y="630"/>
                </a:cxn>
                <a:cxn ang="0">
                  <a:pos x="45" y="607"/>
                </a:cxn>
                <a:cxn ang="0">
                  <a:pos x="84" y="587"/>
                </a:cxn>
                <a:cxn ang="0">
                  <a:pos x="117" y="556"/>
                </a:cxn>
                <a:cxn ang="0">
                  <a:pos x="86" y="517"/>
                </a:cxn>
                <a:cxn ang="0">
                  <a:pos x="70" y="468"/>
                </a:cxn>
                <a:cxn ang="0">
                  <a:pos x="101" y="449"/>
                </a:cxn>
                <a:cxn ang="0">
                  <a:pos x="115" y="454"/>
                </a:cxn>
                <a:cxn ang="0">
                  <a:pos x="113" y="386"/>
                </a:cxn>
              </a:cxnLst>
              <a:rect l="0" t="0" r="r" b="b"/>
              <a:pathLst>
                <a:path w="676" h="957">
                  <a:moveTo>
                    <a:pt x="113" y="386"/>
                  </a:moveTo>
                  <a:lnTo>
                    <a:pt x="113" y="386"/>
                  </a:lnTo>
                  <a:lnTo>
                    <a:pt x="123" y="370"/>
                  </a:lnTo>
                  <a:lnTo>
                    <a:pt x="121" y="349"/>
                  </a:lnTo>
                  <a:lnTo>
                    <a:pt x="125" y="335"/>
                  </a:lnTo>
                  <a:lnTo>
                    <a:pt x="160" y="310"/>
                  </a:lnTo>
                  <a:lnTo>
                    <a:pt x="172" y="314"/>
                  </a:lnTo>
                  <a:lnTo>
                    <a:pt x="193" y="294"/>
                  </a:lnTo>
                  <a:lnTo>
                    <a:pt x="203" y="255"/>
                  </a:lnTo>
                  <a:lnTo>
                    <a:pt x="215" y="245"/>
                  </a:lnTo>
                  <a:lnTo>
                    <a:pt x="211" y="228"/>
                  </a:lnTo>
                  <a:lnTo>
                    <a:pt x="215" y="220"/>
                  </a:lnTo>
                  <a:lnTo>
                    <a:pt x="222" y="214"/>
                  </a:lnTo>
                  <a:lnTo>
                    <a:pt x="275" y="214"/>
                  </a:lnTo>
                  <a:lnTo>
                    <a:pt x="271" y="206"/>
                  </a:lnTo>
                  <a:lnTo>
                    <a:pt x="277" y="193"/>
                  </a:lnTo>
                  <a:lnTo>
                    <a:pt x="283" y="189"/>
                  </a:lnTo>
                  <a:lnTo>
                    <a:pt x="289" y="155"/>
                  </a:lnTo>
                  <a:lnTo>
                    <a:pt x="279" y="155"/>
                  </a:lnTo>
                  <a:lnTo>
                    <a:pt x="252" y="167"/>
                  </a:lnTo>
                  <a:lnTo>
                    <a:pt x="244" y="152"/>
                  </a:lnTo>
                  <a:lnTo>
                    <a:pt x="248" y="136"/>
                  </a:lnTo>
                  <a:lnTo>
                    <a:pt x="265" y="118"/>
                  </a:lnTo>
                  <a:lnTo>
                    <a:pt x="320" y="114"/>
                  </a:lnTo>
                  <a:lnTo>
                    <a:pt x="330" y="101"/>
                  </a:lnTo>
                  <a:lnTo>
                    <a:pt x="334" y="93"/>
                  </a:lnTo>
                  <a:lnTo>
                    <a:pt x="326" y="75"/>
                  </a:lnTo>
                  <a:lnTo>
                    <a:pt x="332" y="66"/>
                  </a:lnTo>
                  <a:lnTo>
                    <a:pt x="357" y="62"/>
                  </a:lnTo>
                  <a:lnTo>
                    <a:pt x="369" y="71"/>
                  </a:lnTo>
                  <a:lnTo>
                    <a:pt x="379" y="85"/>
                  </a:lnTo>
                  <a:lnTo>
                    <a:pt x="389" y="87"/>
                  </a:lnTo>
                  <a:lnTo>
                    <a:pt x="400" y="85"/>
                  </a:lnTo>
                  <a:lnTo>
                    <a:pt x="437" y="36"/>
                  </a:lnTo>
                  <a:lnTo>
                    <a:pt x="430" y="17"/>
                  </a:lnTo>
                  <a:lnTo>
                    <a:pt x="447" y="8"/>
                  </a:lnTo>
                  <a:lnTo>
                    <a:pt x="469" y="14"/>
                  </a:lnTo>
                  <a:lnTo>
                    <a:pt x="531" y="0"/>
                  </a:lnTo>
                  <a:lnTo>
                    <a:pt x="539" y="36"/>
                  </a:lnTo>
                  <a:lnTo>
                    <a:pt x="520" y="62"/>
                  </a:lnTo>
                  <a:lnTo>
                    <a:pt x="523" y="77"/>
                  </a:lnTo>
                  <a:lnTo>
                    <a:pt x="531" y="91"/>
                  </a:lnTo>
                  <a:lnTo>
                    <a:pt x="498" y="116"/>
                  </a:lnTo>
                  <a:lnTo>
                    <a:pt x="498" y="122"/>
                  </a:lnTo>
                  <a:lnTo>
                    <a:pt x="500" y="132"/>
                  </a:lnTo>
                  <a:lnTo>
                    <a:pt x="553" y="152"/>
                  </a:lnTo>
                  <a:lnTo>
                    <a:pt x="557" y="150"/>
                  </a:lnTo>
                  <a:lnTo>
                    <a:pt x="557" y="146"/>
                  </a:lnTo>
                  <a:lnTo>
                    <a:pt x="525" y="116"/>
                  </a:lnTo>
                  <a:lnTo>
                    <a:pt x="555" y="103"/>
                  </a:lnTo>
                  <a:lnTo>
                    <a:pt x="574" y="114"/>
                  </a:lnTo>
                  <a:lnTo>
                    <a:pt x="582" y="114"/>
                  </a:lnTo>
                  <a:lnTo>
                    <a:pt x="580" y="103"/>
                  </a:lnTo>
                  <a:lnTo>
                    <a:pt x="582" y="97"/>
                  </a:lnTo>
                  <a:lnTo>
                    <a:pt x="586" y="95"/>
                  </a:lnTo>
                  <a:lnTo>
                    <a:pt x="594" y="95"/>
                  </a:lnTo>
                  <a:lnTo>
                    <a:pt x="674" y="202"/>
                  </a:lnTo>
                  <a:lnTo>
                    <a:pt x="676" y="214"/>
                  </a:lnTo>
                  <a:lnTo>
                    <a:pt x="647" y="224"/>
                  </a:lnTo>
                  <a:lnTo>
                    <a:pt x="637" y="224"/>
                  </a:lnTo>
                  <a:lnTo>
                    <a:pt x="652" y="267"/>
                  </a:lnTo>
                  <a:lnTo>
                    <a:pt x="643" y="269"/>
                  </a:lnTo>
                  <a:lnTo>
                    <a:pt x="606" y="304"/>
                  </a:lnTo>
                  <a:lnTo>
                    <a:pt x="598" y="306"/>
                  </a:lnTo>
                  <a:lnTo>
                    <a:pt x="596" y="314"/>
                  </a:lnTo>
                  <a:lnTo>
                    <a:pt x="602" y="325"/>
                  </a:lnTo>
                  <a:lnTo>
                    <a:pt x="635" y="333"/>
                  </a:lnTo>
                  <a:lnTo>
                    <a:pt x="627" y="349"/>
                  </a:lnTo>
                  <a:lnTo>
                    <a:pt x="617" y="368"/>
                  </a:lnTo>
                  <a:lnTo>
                    <a:pt x="600" y="417"/>
                  </a:lnTo>
                  <a:lnTo>
                    <a:pt x="649" y="427"/>
                  </a:lnTo>
                  <a:lnTo>
                    <a:pt x="654" y="446"/>
                  </a:lnTo>
                  <a:lnTo>
                    <a:pt x="657" y="501"/>
                  </a:lnTo>
                  <a:lnTo>
                    <a:pt x="629" y="533"/>
                  </a:lnTo>
                  <a:lnTo>
                    <a:pt x="596" y="544"/>
                  </a:lnTo>
                  <a:lnTo>
                    <a:pt x="588" y="533"/>
                  </a:lnTo>
                  <a:lnTo>
                    <a:pt x="578" y="531"/>
                  </a:lnTo>
                  <a:lnTo>
                    <a:pt x="573" y="536"/>
                  </a:lnTo>
                  <a:lnTo>
                    <a:pt x="559" y="568"/>
                  </a:lnTo>
                  <a:lnTo>
                    <a:pt x="523" y="593"/>
                  </a:lnTo>
                  <a:lnTo>
                    <a:pt x="498" y="597"/>
                  </a:lnTo>
                  <a:lnTo>
                    <a:pt x="494" y="601"/>
                  </a:lnTo>
                  <a:lnTo>
                    <a:pt x="492" y="646"/>
                  </a:lnTo>
                  <a:lnTo>
                    <a:pt x="475" y="652"/>
                  </a:lnTo>
                  <a:lnTo>
                    <a:pt x="465" y="652"/>
                  </a:lnTo>
                  <a:lnTo>
                    <a:pt x="459" y="644"/>
                  </a:lnTo>
                  <a:lnTo>
                    <a:pt x="449" y="636"/>
                  </a:lnTo>
                  <a:lnTo>
                    <a:pt x="414" y="640"/>
                  </a:lnTo>
                  <a:lnTo>
                    <a:pt x="400" y="654"/>
                  </a:lnTo>
                  <a:lnTo>
                    <a:pt x="394" y="654"/>
                  </a:lnTo>
                  <a:lnTo>
                    <a:pt x="383" y="650"/>
                  </a:lnTo>
                  <a:lnTo>
                    <a:pt x="373" y="644"/>
                  </a:lnTo>
                  <a:lnTo>
                    <a:pt x="348" y="664"/>
                  </a:lnTo>
                  <a:lnTo>
                    <a:pt x="346" y="677"/>
                  </a:lnTo>
                  <a:lnTo>
                    <a:pt x="359" y="697"/>
                  </a:lnTo>
                  <a:lnTo>
                    <a:pt x="359" y="703"/>
                  </a:lnTo>
                  <a:lnTo>
                    <a:pt x="340" y="720"/>
                  </a:lnTo>
                  <a:lnTo>
                    <a:pt x="353" y="867"/>
                  </a:lnTo>
                  <a:lnTo>
                    <a:pt x="363" y="884"/>
                  </a:lnTo>
                  <a:lnTo>
                    <a:pt x="359" y="910"/>
                  </a:lnTo>
                  <a:lnTo>
                    <a:pt x="355" y="910"/>
                  </a:lnTo>
                  <a:lnTo>
                    <a:pt x="332" y="898"/>
                  </a:lnTo>
                  <a:lnTo>
                    <a:pt x="330" y="898"/>
                  </a:lnTo>
                  <a:lnTo>
                    <a:pt x="322" y="929"/>
                  </a:lnTo>
                  <a:lnTo>
                    <a:pt x="293" y="957"/>
                  </a:lnTo>
                  <a:lnTo>
                    <a:pt x="281" y="949"/>
                  </a:lnTo>
                  <a:lnTo>
                    <a:pt x="281" y="945"/>
                  </a:lnTo>
                  <a:lnTo>
                    <a:pt x="291" y="920"/>
                  </a:lnTo>
                  <a:lnTo>
                    <a:pt x="303" y="910"/>
                  </a:lnTo>
                  <a:lnTo>
                    <a:pt x="308" y="894"/>
                  </a:lnTo>
                  <a:lnTo>
                    <a:pt x="267" y="871"/>
                  </a:lnTo>
                  <a:lnTo>
                    <a:pt x="260" y="851"/>
                  </a:lnTo>
                  <a:lnTo>
                    <a:pt x="248" y="861"/>
                  </a:lnTo>
                  <a:lnTo>
                    <a:pt x="246" y="892"/>
                  </a:lnTo>
                  <a:lnTo>
                    <a:pt x="232" y="900"/>
                  </a:lnTo>
                  <a:lnTo>
                    <a:pt x="222" y="882"/>
                  </a:lnTo>
                  <a:lnTo>
                    <a:pt x="181" y="865"/>
                  </a:lnTo>
                  <a:lnTo>
                    <a:pt x="179" y="843"/>
                  </a:lnTo>
                  <a:lnTo>
                    <a:pt x="181" y="834"/>
                  </a:lnTo>
                  <a:lnTo>
                    <a:pt x="199" y="820"/>
                  </a:lnTo>
                  <a:lnTo>
                    <a:pt x="201" y="812"/>
                  </a:lnTo>
                  <a:lnTo>
                    <a:pt x="150" y="671"/>
                  </a:lnTo>
                  <a:lnTo>
                    <a:pt x="136" y="667"/>
                  </a:lnTo>
                  <a:lnTo>
                    <a:pt x="39" y="695"/>
                  </a:lnTo>
                  <a:lnTo>
                    <a:pt x="25" y="689"/>
                  </a:lnTo>
                  <a:lnTo>
                    <a:pt x="0" y="656"/>
                  </a:lnTo>
                  <a:lnTo>
                    <a:pt x="31" y="632"/>
                  </a:lnTo>
                  <a:lnTo>
                    <a:pt x="37" y="630"/>
                  </a:lnTo>
                  <a:lnTo>
                    <a:pt x="45" y="632"/>
                  </a:lnTo>
                  <a:lnTo>
                    <a:pt x="54" y="621"/>
                  </a:lnTo>
                  <a:lnTo>
                    <a:pt x="45" y="607"/>
                  </a:lnTo>
                  <a:lnTo>
                    <a:pt x="68" y="576"/>
                  </a:lnTo>
                  <a:lnTo>
                    <a:pt x="76" y="585"/>
                  </a:lnTo>
                  <a:lnTo>
                    <a:pt x="84" y="587"/>
                  </a:lnTo>
                  <a:lnTo>
                    <a:pt x="99" y="558"/>
                  </a:lnTo>
                  <a:lnTo>
                    <a:pt x="113" y="560"/>
                  </a:lnTo>
                  <a:lnTo>
                    <a:pt x="117" y="556"/>
                  </a:lnTo>
                  <a:lnTo>
                    <a:pt x="115" y="548"/>
                  </a:lnTo>
                  <a:lnTo>
                    <a:pt x="95" y="517"/>
                  </a:lnTo>
                  <a:lnTo>
                    <a:pt x="86" y="517"/>
                  </a:lnTo>
                  <a:lnTo>
                    <a:pt x="74" y="505"/>
                  </a:lnTo>
                  <a:lnTo>
                    <a:pt x="72" y="485"/>
                  </a:lnTo>
                  <a:lnTo>
                    <a:pt x="70" y="468"/>
                  </a:lnTo>
                  <a:lnTo>
                    <a:pt x="72" y="456"/>
                  </a:lnTo>
                  <a:lnTo>
                    <a:pt x="97" y="437"/>
                  </a:lnTo>
                  <a:lnTo>
                    <a:pt x="101" y="449"/>
                  </a:lnTo>
                  <a:lnTo>
                    <a:pt x="107" y="456"/>
                  </a:lnTo>
                  <a:lnTo>
                    <a:pt x="111" y="456"/>
                  </a:lnTo>
                  <a:lnTo>
                    <a:pt x="115" y="454"/>
                  </a:lnTo>
                  <a:lnTo>
                    <a:pt x="121" y="433"/>
                  </a:lnTo>
                  <a:lnTo>
                    <a:pt x="113" y="386"/>
                  </a:lnTo>
                  <a:close/>
                </a:path>
              </a:pathLst>
            </a:custGeom>
            <a:solidFill>
              <a:srgbClr val="DADAE1"/>
            </a:solidFill>
            <a:ln w="14288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pPr eaLnBrk="0" fontAlgn="auto" hangingPunct="0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sz="800" kern="0">
                <a:solidFill>
                  <a:sysClr val="windowText" lastClr="000000"/>
                </a:solidFill>
                <a:latin typeface="DIN-Medium" pitchFamily="34" charset="0"/>
                <a:cs typeface="+mn-cs"/>
              </a:endParaRPr>
            </a:p>
          </p:txBody>
        </p:sp>
        <p:sp>
          <p:nvSpPr>
            <p:cNvPr id="82" name="Hamburg"/>
            <p:cNvSpPr>
              <a:spLocks/>
            </p:cNvSpPr>
            <p:nvPr/>
          </p:nvSpPr>
          <p:spPr bwMode="auto">
            <a:xfrm>
              <a:off x="1990725" y="1954213"/>
              <a:ext cx="328613" cy="268287"/>
            </a:xfrm>
            <a:custGeom>
              <a:avLst/>
              <a:gdLst/>
              <a:ahLst/>
              <a:cxnLst>
                <a:cxn ang="0">
                  <a:pos x="0" y="84"/>
                </a:cxn>
                <a:cxn ang="0">
                  <a:pos x="25" y="94"/>
                </a:cxn>
                <a:cxn ang="0">
                  <a:pos x="45" y="52"/>
                </a:cxn>
                <a:cxn ang="0">
                  <a:pos x="66" y="55"/>
                </a:cxn>
                <a:cxn ang="0">
                  <a:pos x="73" y="46"/>
                </a:cxn>
                <a:cxn ang="0">
                  <a:pos x="73" y="33"/>
                </a:cxn>
                <a:cxn ang="0">
                  <a:pos x="100" y="12"/>
                </a:cxn>
                <a:cxn ang="0">
                  <a:pos x="111" y="16"/>
                </a:cxn>
                <a:cxn ang="0">
                  <a:pos x="138" y="0"/>
                </a:cxn>
                <a:cxn ang="0">
                  <a:pos x="148" y="9"/>
                </a:cxn>
                <a:cxn ang="0">
                  <a:pos x="151" y="34"/>
                </a:cxn>
                <a:cxn ang="0">
                  <a:pos x="171" y="61"/>
                </a:cxn>
                <a:cxn ang="0">
                  <a:pos x="157" y="81"/>
                </a:cxn>
                <a:cxn ang="0">
                  <a:pos x="159" y="105"/>
                </a:cxn>
                <a:cxn ang="0">
                  <a:pos x="211" y="156"/>
                </a:cxn>
                <a:cxn ang="0">
                  <a:pos x="201" y="153"/>
                </a:cxn>
                <a:cxn ang="0">
                  <a:pos x="175" y="169"/>
                </a:cxn>
                <a:cxn ang="0">
                  <a:pos x="135" y="151"/>
                </a:cxn>
                <a:cxn ang="0">
                  <a:pos x="126" y="163"/>
                </a:cxn>
                <a:cxn ang="0">
                  <a:pos x="87" y="172"/>
                </a:cxn>
                <a:cxn ang="0">
                  <a:pos x="87" y="153"/>
                </a:cxn>
                <a:cxn ang="0">
                  <a:pos x="76" y="144"/>
                </a:cxn>
                <a:cxn ang="0">
                  <a:pos x="67" y="160"/>
                </a:cxn>
                <a:cxn ang="0">
                  <a:pos x="0" y="84"/>
                </a:cxn>
              </a:cxnLst>
              <a:rect l="0" t="0" r="r" b="b"/>
              <a:pathLst>
                <a:path w="211" h="172">
                  <a:moveTo>
                    <a:pt x="0" y="84"/>
                  </a:moveTo>
                  <a:lnTo>
                    <a:pt x="25" y="94"/>
                  </a:lnTo>
                  <a:lnTo>
                    <a:pt x="45" y="52"/>
                  </a:lnTo>
                  <a:lnTo>
                    <a:pt x="66" y="55"/>
                  </a:lnTo>
                  <a:lnTo>
                    <a:pt x="73" y="46"/>
                  </a:lnTo>
                  <a:lnTo>
                    <a:pt x="73" y="33"/>
                  </a:lnTo>
                  <a:lnTo>
                    <a:pt x="100" y="12"/>
                  </a:lnTo>
                  <a:lnTo>
                    <a:pt x="111" y="16"/>
                  </a:lnTo>
                  <a:lnTo>
                    <a:pt x="138" y="0"/>
                  </a:lnTo>
                  <a:lnTo>
                    <a:pt x="148" y="9"/>
                  </a:lnTo>
                  <a:lnTo>
                    <a:pt x="151" y="34"/>
                  </a:lnTo>
                  <a:lnTo>
                    <a:pt x="171" y="61"/>
                  </a:lnTo>
                  <a:lnTo>
                    <a:pt x="157" y="81"/>
                  </a:lnTo>
                  <a:lnTo>
                    <a:pt x="159" y="105"/>
                  </a:lnTo>
                  <a:lnTo>
                    <a:pt x="211" y="156"/>
                  </a:lnTo>
                  <a:lnTo>
                    <a:pt x="201" y="153"/>
                  </a:lnTo>
                  <a:lnTo>
                    <a:pt x="175" y="169"/>
                  </a:lnTo>
                  <a:lnTo>
                    <a:pt x="135" y="151"/>
                  </a:lnTo>
                  <a:lnTo>
                    <a:pt x="126" y="163"/>
                  </a:lnTo>
                  <a:lnTo>
                    <a:pt x="87" y="172"/>
                  </a:lnTo>
                  <a:lnTo>
                    <a:pt x="87" y="153"/>
                  </a:lnTo>
                  <a:lnTo>
                    <a:pt x="76" y="144"/>
                  </a:lnTo>
                  <a:lnTo>
                    <a:pt x="67" y="160"/>
                  </a:lnTo>
                  <a:lnTo>
                    <a:pt x="0" y="84"/>
                  </a:lnTo>
                  <a:close/>
                </a:path>
              </a:pathLst>
            </a:custGeom>
            <a:solidFill>
              <a:srgbClr val="DADAE1"/>
            </a:solidFill>
            <a:ln w="14288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auto" hangingPunct="0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sz="800" kern="0">
                <a:solidFill>
                  <a:sysClr val="windowText" lastClr="000000"/>
                </a:solidFill>
                <a:latin typeface="DIN-Medium" pitchFamily="34" charset="0"/>
                <a:cs typeface="+mn-cs"/>
              </a:endParaRPr>
            </a:p>
          </p:txBody>
        </p:sp>
        <p:grpSp>
          <p:nvGrpSpPr>
            <p:cNvPr id="83" name="Gruppieren 81"/>
            <p:cNvGrpSpPr/>
            <p:nvPr/>
          </p:nvGrpSpPr>
          <p:grpSpPr>
            <a:xfrm>
              <a:off x="412750" y="1179513"/>
              <a:ext cx="3860800" cy="5110162"/>
              <a:chOff x="412750" y="1179513"/>
              <a:chExt cx="3860800" cy="5110162"/>
            </a:xfrm>
          </p:grpSpPr>
          <p:sp>
            <p:nvSpPr>
              <p:cNvPr id="84" name="Baden-Württemberg"/>
              <p:cNvSpPr>
                <a:spLocks/>
              </p:cNvSpPr>
              <p:nvPr/>
            </p:nvSpPr>
            <p:spPr bwMode="auto">
              <a:xfrm>
                <a:off x="1027113" y="4608513"/>
                <a:ext cx="1365250" cy="1485900"/>
              </a:xfrm>
              <a:custGeom>
                <a:avLst/>
                <a:gdLst/>
                <a:ahLst/>
                <a:cxnLst>
                  <a:cxn ang="0">
                    <a:pos x="555" y="909"/>
                  </a:cxn>
                  <a:cxn ang="0">
                    <a:pos x="443" y="843"/>
                  </a:cxn>
                  <a:cxn ang="0">
                    <a:pos x="481" y="884"/>
                  </a:cxn>
                  <a:cxn ang="0">
                    <a:pos x="414" y="872"/>
                  </a:cxn>
                  <a:cxn ang="0">
                    <a:pos x="414" y="899"/>
                  </a:cxn>
                  <a:cxn ang="0">
                    <a:pos x="389" y="880"/>
                  </a:cxn>
                  <a:cxn ang="0">
                    <a:pos x="340" y="850"/>
                  </a:cxn>
                  <a:cxn ang="0">
                    <a:pos x="262" y="874"/>
                  </a:cxn>
                  <a:cxn ang="0">
                    <a:pos x="297" y="903"/>
                  </a:cxn>
                  <a:cxn ang="0">
                    <a:pos x="279" y="925"/>
                  </a:cxn>
                  <a:cxn ang="0">
                    <a:pos x="273" y="944"/>
                  </a:cxn>
                  <a:cxn ang="0">
                    <a:pos x="86" y="938"/>
                  </a:cxn>
                  <a:cxn ang="0">
                    <a:pos x="47" y="946"/>
                  </a:cxn>
                  <a:cxn ang="0">
                    <a:pos x="21" y="927"/>
                  </a:cxn>
                  <a:cxn ang="0">
                    <a:pos x="273" y="65"/>
                  </a:cxn>
                  <a:cxn ang="0">
                    <a:pos x="338" y="94"/>
                  </a:cxn>
                  <a:cxn ang="0">
                    <a:pos x="369" y="76"/>
                  </a:cxn>
                  <a:cxn ang="0">
                    <a:pos x="395" y="114"/>
                  </a:cxn>
                  <a:cxn ang="0">
                    <a:pos x="377" y="147"/>
                  </a:cxn>
                  <a:cxn ang="0">
                    <a:pos x="420" y="98"/>
                  </a:cxn>
                  <a:cxn ang="0">
                    <a:pos x="438" y="112"/>
                  </a:cxn>
                  <a:cxn ang="0">
                    <a:pos x="455" y="80"/>
                  </a:cxn>
                  <a:cxn ang="0">
                    <a:pos x="523" y="60"/>
                  </a:cxn>
                  <a:cxn ang="0">
                    <a:pos x="537" y="24"/>
                  </a:cxn>
                  <a:cxn ang="0">
                    <a:pos x="551" y="6"/>
                  </a:cxn>
                  <a:cxn ang="0">
                    <a:pos x="610" y="0"/>
                  </a:cxn>
                  <a:cxn ang="0">
                    <a:pos x="623" y="39"/>
                  </a:cxn>
                  <a:cxn ang="0">
                    <a:pos x="631" y="26"/>
                  </a:cxn>
                  <a:cxn ang="0">
                    <a:pos x="666" y="22"/>
                  </a:cxn>
                  <a:cxn ang="0">
                    <a:pos x="682" y="57"/>
                  </a:cxn>
                  <a:cxn ang="0">
                    <a:pos x="694" y="80"/>
                  </a:cxn>
                  <a:cxn ang="0">
                    <a:pos x="701" y="106"/>
                  </a:cxn>
                  <a:cxn ang="0">
                    <a:pos x="731" y="106"/>
                  </a:cxn>
                  <a:cxn ang="0">
                    <a:pos x="757" y="100"/>
                  </a:cxn>
                  <a:cxn ang="0">
                    <a:pos x="760" y="168"/>
                  </a:cxn>
                  <a:cxn ang="0">
                    <a:pos x="827" y="311"/>
                  </a:cxn>
                  <a:cxn ang="0">
                    <a:pos x="877" y="448"/>
                  </a:cxn>
                  <a:cxn ang="0">
                    <a:pos x="844" y="458"/>
                  </a:cxn>
                  <a:cxn ang="0">
                    <a:pos x="805" y="454"/>
                  </a:cxn>
                  <a:cxn ang="0">
                    <a:pos x="799" y="520"/>
                  </a:cxn>
                  <a:cxn ang="0">
                    <a:pos x="776" y="544"/>
                  </a:cxn>
                  <a:cxn ang="0">
                    <a:pos x="706" y="594"/>
                  </a:cxn>
                  <a:cxn ang="0">
                    <a:pos x="754" y="807"/>
                  </a:cxn>
                  <a:cxn ang="0">
                    <a:pos x="750" y="854"/>
                  </a:cxn>
                  <a:cxn ang="0">
                    <a:pos x="748" y="905"/>
                  </a:cxn>
                  <a:cxn ang="0">
                    <a:pos x="713" y="886"/>
                  </a:cxn>
                  <a:cxn ang="0">
                    <a:pos x="660" y="909"/>
                  </a:cxn>
                  <a:cxn ang="0">
                    <a:pos x="610" y="934"/>
                  </a:cxn>
                  <a:cxn ang="0">
                    <a:pos x="600" y="938"/>
                  </a:cxn>
                </a:cxnLst>
                <a:rect l="0" t="0" r="r" b="b"/>
                <a:pathLst>
                  <a:path w="877" h="952">
                    <a:moveTo>
                      <a:pt x="600" y="938"/>
                    </a:moveTo>
                    <a:lnTo>
                      <a:pt x="600" y="938"/>
                    </a:lnTo>
                    <a:lnTo>
                      <a:pt x="555" y="909"/>
                    </a:lnTo>
                    <a:lnTo>
                      <a:pt x="524" y="905"/>
                    </a:lnTo>
                    <a:lnTo>
                      <a:pt x="467" y="847"/>
                    </a:lnTo>
                    <a:lnTo>
                      <a:pt x="443" y="843"/>
                    </a:lnTo>
                    <a:lnTo>
                      <a:pt x="440" y="845"/>
                    </a:lnTo>
                    <a:lnTo>
                      <a:pt x="440" y="847"/>
                    </a:lnTo>
                    <a:lnTo>
                      <a:pt x="481" y="884"/>
                    </a:lnTo>
                    <a:lnTo>
                      <a:pt x="483" y="895"/>
                    </a:lnTo>
                    <a:lnTo>
                      <a:pt x="481" y="897"/>
                    </a:lnTo>
                    <a:lnTo>
                      <a:pt x="414" y="872"/>
                    </a:lnTo>
                    <a:lnTo>
                      <a:pt x="420" y="893"/>
                    </a:lnTo>
                    <a:lnTo>
                      <a:pt x="420" y="895"/>
                    </a:lnTo>
                    <a:lnTo>
                      <a:pt x="414" y="899"/>
                    </a:lnTo>
                    <a:lnTo>
                      <a:pt x="406" y="897"/>
                    </a:lnTo>
                    <a:lnTo>
                      <a:pt x="389" y="880"/>
                    </a:lnTo>
                    <a:lnTo>
                      <a:pt x="371" y="897"/>
                    </a:lnTo>
                    <a:lnTo>
                      <a:pt x="361" y="895"/>
                    </a:lnTo>
                    <a:lnTo>
                      <a:pt x="340" y="850"/>
                    </a:lnTo>
                    <a:lnTo>
                      <a:pt x="303" y="850"/>
                    </a:lnTo>
                    <a:lnTo>
                      <a:pt x="293" y="866"/>
                    </a:lnTo>
                    <a:lnTo>
                      <a:pt x="262" y="874"/>
                    </a:lnTo>
                    <a:lnTo>
                      <a:pt x="273" y="899"/>
                    </a:lnTo>
                    <a:lnTo>
                      <a:pt x="279" y="903"/>
                    </a:lnTo>
                    <a:lnTo>
                      <a:pt x="297" y="903"/>
                    </a:lnTo>
                    <a:lnTo>
                      <a:pt x="301" y="905"/>
                    </a:lnTo>
                    <a:lnTo>
                      <a:pt x="279" y="925"/>
                    </a:lnTo>
                    <a:lnTo>
                      <a:pt x="283" y="934"/>
                    </a:lnTo>
                    <a:lnTo>
                      <a:pt x="283" y="938"/>
                    </a:lnTo>
                    <a:lnTo>
                      <a:pt x="273" y="944"/>
                    </a:lnTo>
                    <a:lnTo>
                      <a:pt x="187" y="923"/>
                    </a:lnTo>
                    <a:lnTo>
                      <a:pt x="135" y="942"/>
                    </a:lnTo>
                    <a:lnTo>
                      <a:pt x="86" y="938"/>
                    </a:lnTo>
                    <a:lnTo>
                      <a:pt x="58" y="952"/>
                    </a:lnTo>
                    <a:lnTo>
                      <a:pt x="53" y="952"/>
                    </a:lnTo>
                    <a:lnTo>
                      <a:pt x="47" y="946"/>
                    </a:lnTo>
                    <a:lnTo>
                      <a:pt x="70" y="913"/>
                    </a:lnTo>
                    <a:lnTo>
                      <a:pt x="49" y="905"/>
                    </a:lnTo>
                    <a:lnTo>
                      <a:pt x="21" y="927"/>
                    </a:lnTo>
                    <a:lnTo>
                      <a:pt x="0" y="845"/>
                    </a:lnTo>
                    <a:lnTo>
                      <a:pt x="293" y="192"/>
                    </a:lnTo>
                    <a:lnTo>
                      <a:pt x="273" y="65"/>
                    </a:lnTo>
                    <a:lnTo>
                      <a:pt x="316" y="84"/>
                    </a:lnTo>
                    <a:lnTo>
                      <a:pt x="324" y="98"/>
                    </a:lnTo>
                    <a:lnTo>
                      <a:pt x="338" y="94"/>
                    </a:lnTo>
                    <a:lnTo>
                      <a:pt x="342" y="57"/>
                    </a:lnTo>
                    <a:lnTo>
                      <a:pt x="350" y="53"/>
                    </a:lnTo>
                    <a:lnTo>
                      <a:pt x="369" y="76"/>
                    </a:lnTo>
                    <a:lnTo>
                      <a:pt x="395" y="94"/>
                    </a:lnTo>
                    <a:lnTo>
                      <a:pt x="397" y="110"/>
                    </a:lnTo>
                    <a:lnTo>
                      <a:pt x="395" y="114"/>
                    </a:lnTo>
                    <a:lnTo>
                      <a:pt x="389" y="114"/>
                    </a:lnTo>
                    <a:lnTo>
                      <a:pt x="385" y="114"/>
                    </a:lnTo>
                    <a:lnTo>
                      <a:pt x="377" y="147"/>
                    </a:lnTo>
                    <a:lnTo>
                      <a:pt x="385" y="157"/>
                    </a:lnTo>
                    <a:lnTo>
                      <a:pt x="410" y="133"/>
                    </a:lnTo>
                    <a:lnTo>
                      <a:pt x="420" y="98"/>
                    </a:lnTo>
                    <a:lnTo>
                      <a:pt x="422" y="96"/>
                    </a:lnTo>
                    <a:lnTo>
                      <a:pt x="428" y="96"/>
                    </a:lnTo>
                    <a:lnTo>
                      <a:pt x="438" y="112"/>
                    </a:lnTo>
                    <a:lnTo>
                      <a:pt x="451" y="106"/>
                    </a:lnTo>
                    <a:lnTo>
                      <a:pt x="455" y="104"/>
                    </a:lnTo>
                    <a:lnTo>
                      <a:pt x="455" y="80"/>
                    </a:lnTo>
                    <a:lnTo>
                      <a:pt x="479" y="88"/>
                    </a:lnTo>
                    <a:lnTo>
                      <a:pt x="506" y="80"/>
                    </a:lnTo>
                    <a:lnTo>
                      <a:pt x="523" y="60"/>
                    </a:lnTo>
                    <a:lnTo>
                      <a:pt x="539" y="52"/>
                    </a:lnTo>
                    <a:lnTo>
                      <a:pt x="541" y="30"/>
                    </a:lnTo>
                    <a:lnTo>
                      <a:pt x="537" y="24"/>
                    </a:lnTo>
                    <a:lnTo>
                      <a:pt x="531" y="22"/>
                    </a:lnTo>
                    <a:lnTo>
                      <a:pt x="539" y="10"/>
                    </a:lnTo>
                    <a:lnTo>
                      <a:pt x="551" y="6"/>
                    </a:lnTo>
                    <a:lnTo>
                      <a:pt x="576" y="22"/>
                    </a:lnTo>
                    <a:lnTo>
                      <a:pt x="604" y="0"/>
                    </a:lnTo>
                    <a:lnTo>
                      <a:pt x="610" y="0"/>
                    </a:lnTo>
                    <a:lnTo>
                      <a:pt x="608" y="28"/>
                    </a:lnTo>
                    <a:lnTo>
                      <a:pt x="615" y="37"/>
                    </a:lnTo>
                    <a:lnTo>
                      <a:pt x="623" y="39"/>
                    </a:lnTo>
                    <a:lnTo>
                      <a:pt x="623" y="32"/>
                    </a:lnTo>
                    <a:lnTo>
                      <a:pt x="625" y="28"/>
                    </a:lnTo>
                    <a:lnTo>
                      <a:pt x="631" y="26"/>
                    </a:lnTo>
                    <a:lnTo>
                      <a:pt x="658" y="39"/>
                    </a:lnTo>
                    <a:lnTo>
                      <a:pt x="664" y="22"/>
                    </a:lnTo>
                    <a:lnTo>
                      <a:pt x="666" y="22"/>
                    </a:lnTo>
                    <a:lnTo>
                      <a:pt x="670" y="24"/>
                    </a:lnTo>
                    <a:lnTo>
                      <a:pt x="679" y="33"/>
                    </a:lnTo>
                    <a:lnTo>
                      <a:pt x="682" y="57"/>
                    </a:lnTo>
                    <a:lnTo>
                      <a:pt x="674" y="80"/>
                    </a:lnTo>
                    <a:lnTo>
                      <a:pt x="680" y="86"/>
                    </a:lnTo>
                    <a:lnTo>
                      <a:pt x="694" y="80"/>
                    </a:lnTo>
                    <a:lnTo>
                      <a:pt x="696" y="80"/>
                    </a:lnTo>
                    <a:lnTo>
                      <a:pt x="701" y="82"/>
                    </a:lnTo>
                    <a:lnTo>
                      <a:pt x="701" y="106"/>
                    </a:lnTo>
                    <a:lnTo>
                      <a:pt x="715" y="114"/>
                    </a:lnTo>
                    <a:lnTo>
                      <a:pt x="723" y="112"/>
                    </a:lnTo>
                    <a:lnTo>
                      <a:pt x="731" y="106"/>
                    </a:lnTo>
                    <a:lnTo>
                      <a:pt x="731" y="98"/>
                    </a:lnTo>
                    <a:lnTo>
                      <a:pt x="750" y="84"/>
                    </a:lnTo>
                    <a:lnTo>
                      <a:pt x="757" y="100"/>
                    </a:lnTo>
                    <a:lnTo>
                      <a:pt x="774" y="157"/>
                    </a:lnTo>
                    <a:lnTo>
                      <a:pt x="766" y="161"/>
                    </a:lnTo>
                    <a:lnTo>
                      <a:pt x="760" y="168"/>
                    </a:lnTo>
                    <a:lnTo>
                      <a:pt x="770" y="241"/>
                    </a:lnTo>
                    <a:lnTo>
                      <a:pt x="797" y="266"/>
                    </a:lnTo>
                    <a:lnTo>
                      <a:pt x="827" y="311"/>
                    </a:lnTo>
                    <a:lnTo>
                      <a:pt x="851" y="348"/>
                    </a:lnTo>
                    <a:lnTo>
                      <a:pt x="859" y="418"/>
                    </a:lnTo>
                    <a:lnTo>
                      <a:pt x="877" y="448"/>
                    </a:lnTo>
                    <a:lnTo>
                      <a:pt x="858" y="473"/>
                    </a:lnTo>
                    <a:lnTo>
                      <a:pt x="854" y="462"/>
                    </a:lnTo>
                    <a:lnTo>
                      <a:pt x="844" y="458"/>
                    </a:lnTo>
                    <a:lnTo>
                      <a:pt x="840" y="458"/>
                    </a:lnTo>
                    <a:lnTo>
                      <a:pt x="838" y="473"/>
                    </a:lnTo>
                    <a:lnTo>
                      <a:pt x="805" y="454"/>
                    </a:lnTo>
                    <a:lnTo>
                      <a:pt x="791" y="472"/>
                    </a:lnTo>
                    <a:lnTo>
                      <a:pt x="805" y="518"/>
                    </a:lnTo>
                    <a:lnTo>
                      <a:pt x="799" y="520"/>
                    </a:lnTo>
                    <a:lnTo>
                      <a:pt x="799" y="534"/>
                    </a:lnTo>
                    <a:lnTo>
                      <a:pt x="789" y="542"/>
                    </a:lnTo>
                    <a:lnTo>
                      <a:pt x="776" y="544"/>
                    </a:lnTo>
                    <a:lnTo>
                      <a:pt x="749" y="553"/>
                    </a:lnTo>
                    <a:lnTo>
                      <a:pt x="740" y="573"/>
                    </a:lnTo>
                    <a:lnTo>
                      <a:pt x="706" y="594"/>
                    </a:lnTo>
                    <a:lnTo>
                      <a:pt x="747" y="764"/>
                    </a:lnTo>
                    <a:lnTo>
                      <a:pt x="754" y="788"/>
                    </a:lnTo>
                    <a:lnTo>
                      <a:pt x="754" y="807"/>
                    </a:lnTo>
                    <a:lnTo>
                      <a:pt x="764" y="825"/>
                    </a:lnTo>
                    <a:lnTo>
                      <a:pt x="752" y="841"/>
                    </a:lnTo>
                    <a:lnTo>
                      <a:pt x="750" y="854"/>
                    </a:lnTo>
                    <a:lnTo>
                      <a:pt x="764" y="860"/>
                    </a:lnTo>
                    <a:lnTo>
                      <a:pt x="766" y="878"/>
                    </a:lnTo>
                    <a:lnTo>
                      <a:pt x="748" y="905"/>
                    </a:lnTo>
                    <a:lnTo>
                      <a:pt x="735" y="886"/>
                    </a:lnTo>
                    <a:lnTo>
                      <a:pt x="731" y="884"/>
                    </a:lnTo>
                    <a:lnTo>
                      <a:pt x="713" y="886"/>
                    </a:lnTo>
                    <a:lnTo>
                      <a:pt x="703" y="899"/>
                    </a:lnTo>
                    <a:lnTo>
                      <a:pt x="676" y="888"/>
                    </a:lnTo>
                    <a:lnTo>
                      <a:pt x="660" y="909"/>
                    </a:lnTo>
                    <a:lnTo>
                      <a:pt x="641" y="917"/>
                    </a:lnTo>
                    <a:lnTo>
                      <a:pt x="621" y="917"/>
                    </a:lnTo>
                    <a:lnTo>
                      <a:pt x="610" y="934"/>
                    </a:lnTo>
                    <a:lnTo>
                      <a:pt x="600" y="938"/>
                    </a:lnTo>
                    <a:close/>
                  </a:path>
                </a:pathLst>
              </a:custGeom>
              <a:solidFill>
                <a:srgbClr val="DADAE1"/>
              </a:solidFill>
              <a:ln w="14288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eaLnBrk="0" fontAlgn="auto" hangingPunct="0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e-DE" sz="1800" kern="0">
                  <a:solidFill>
                    <a:sysClr val="windowText" lastClr="000000"/>
                  </a:solidFill>
                  <a:latin typeface="DIN-Medium" pitchFamily="34" charset="0"/>
                  <a:cs typeface="+mn-cs"/>
                </a:endParaRPr>
              </a:p>
            </p:txBody>
          </p:sp>
          <p:sp>
            <p:nvSpPr>
              <p:cNvPr id="85" name="Bayern"/>
              <p:cNvSpPr>
                <a:spLocks/>
              </p:cNvSpPr>
              <p:nvPr/>
            </p:nvSpPr>
            <p:spPr bwMode="auto">
              <a:xfrm>
                <a:off x="1700213" y="4148138"/>
                <a:ext cx="2130425" cy="2141537"/>
              </a:xfrm>
              <a:custGeom>
                <a:avLst/>
                <a:gdLst/>
                <a:ahLst/>
                <a:cxnLst>
                  <a:cxn ang="0">
                    <a:pos x="877" y="90"/>
                  </a:cxn>
                  <a:cxn ang="0">
                    <a:pos x="860" y="92"/>
                  </a:cxn>
                  <a:cxn ang="0">
                    <a:pos x="889" y="139"/>
                  </a:cxn>
                  <a:cxn ang="0">
                    <a:pos x="975" y="223"/>
                  </a:cxn>
                  <a:cxn ang="0">
                    <a:pos x="967" y="280"/>
                  </a:cxn>
                  <a:cxn ang="0">
                    <a:pos x="959" y="338"/>
                  </a:cxn>
                  <a:cxn ang="0">
                    <a:pos x="1034" y="450"/>
                  </a:cxn>
                  <a:cxn ang="0">
                    <a:pos x="1315" y="667"/>
                  </a:cxn>
                  <a:cxn ang="0">
                    <a:pos x="1368" y="776"/>
                  </a:cxn>
                  <a:cxn ang="0">
                    <a:pos x="1292" y="800"/>
                  </a:cxn>
                  <a:cxn ang="0">
                    <a:pos x="1262" y="868"/>
                  </a:cxn>
                  <a:cxn ang="0">
                    <a:pos x="1075" y="997"/>
                  </a:cxn>
                  <a:cxn ang="0">
                    <a:pos x="1145" y="1185"/>
                  </a:cxn>
                  <a:cxn ang="0">
                    <a:pos x="1169" y="1253"/>
                  </a:cxn>
                  <a:cxn ang="0">
                    <a:pos x="1094" y="1214"/>
                  </a:cxn>
                  <a:cxn ang="0">
                    <a:pos x="963" y="1185"/>
                  </a:cxn>
                  <a:cxn ang="0">
                    <a:pos x="918" y="1224"/>
                  </a:cxn>
                  <a:cxn ang="0">
                    <a:pos x="770" y="1226"/>
                  </a:cxn>
                  <a:cxn ang="0">
                    <a:pos x="703" y="1298"/>
                  </a:cxn>
                  <a:cxn ang="0">
                    <a:pos x="576" y="1300"/>
                  </a:cxn>
                  <a:cxn ang="0">
                    <a:pos x="459" y="1239"/>
                  </a:cxn>
                  <a:cxn ang="0">
                    <a:pos x="436" y="1267"/>
                  </a:cxn>
                  <a:cxn ang="0">
                    <a:pos x="428" y="1214"/>
                  </a:cxn>
                  <a:cxn ang="0">
                    <a:pos x="402" y="1276"/>
                  </a:cxn>
                  <a:cxn ang="0">
                    <a:pos x="332" y="1353"/>
                  </a:cxn>
                  <a:cxn ang="0">
                    <a:pos x="309" y="1319"/>
                  </a:cxn>
                  <a:cxn ang="0">
                    <a:pos x="283" y="1249"/>
                  </a:cxn>
                  <a:cxn ang="0">
                    <a:pos x="189" y="1249"/>
                  </a:cxn>
                  <a:cxn ang="0">
                    <a:pos x="205" y="1214"/>
                  </a:cxn>
                  <a:cxn ang="0">
                    <a:pos x="299" y="1181"/>
                  </a:cxn>
                  <a:cxn ang="0">
                    <a:pos x="322" y="1151"/>
                  </a:cxn>
                  <a:cxn ang="0">
                    <a:pos x="322" y="1104"/>
                  </a:cxn>
                  <a:cxn ang="0">
                    <a:pos x="365" y="831"/>
                  </a:cxn>
                  <a:cxn ang="0">
                    <a:pos x="361" y="764"/>
                  </a:cxn>
                  <a:cxn ang="0">
                    <a:pos x="410" y="755"/>
                  </a:cxn>
                  <a:cxn ang="0">
                    <a:pos x="441" y="755"/>
                  </a:cxn>
                  <a:cxn ang="0">
                    <a:pos x="338" y="528"/>
                  </a:cxn>
                  <a:cxn ang="0">
                    <a:pos x="342" y="450"/>
                  </a:cxn>
                  <a:cxn ang="0">
                    <a:pos x="275" y="403"/>
                  </a:cxn>
                  <a:cxn ang="0">
                    <a:pos x="248" y="329"/>
                  </a:cxn>
                  <a:cxn ang="0">
                    <a:pos x="226" y="332"/>
                  </a:cxn>
                  <a:cxn ang="0">
                    <a:pos x="191" y="323"/>
                  </a:cxn>
                  <a:cxn ang="0">
                    <a:pos x="178" y="334"/>
                  </a:cxn>
                  <a:cxn ang="0">
                    <a:pos x="158" y="313"/>
                  </a:cxn>
                  <a:cxn ang="0">
                    <a:pos x="111" y="329"/>
                  </a:cxn>
                  <a:cxn ang="0">
                    <a:pos x="23" y="379"/>
                  </a:cxn>
                  <a:cxn ang="0">
                    <a:pos x="0" y="215"/>
                  </a:cxn>
                  <a:cxn ang="0">
                    <a:pos x="17" y="151"/>
                  </a:cxn>
                  <a:cxn ang="0">
                    <a:pos x="72" y="135"/>
                  </a:cxn>
                  <a:cxn ang="0">
                    <a:pos x="152" y="141"/>
                  </a:cxn>
                  <a:cxn ang="0">
                    <a:pos x="223" y="55"/>
                  </a:cxn>
                  <a:cxn ang="0">
                    <a:pos x="254" y="39"/>
                  </a:cxn>
                  <a:cxn ang="0">
                    <a:pos x="357" y="2"/>
                  </a:cxn>
                  <a:cxn ang="0">
                    <a:pos x="459" y="110"/>
                  </a:cxn>
                  <a:cxn ang="0">
                    <a:pos x="518" y="121"/>
                  </a:cxn>
                  <a:cxn ang="0">
                    <a:pos x="514" y="96"/>
                  </a:cxn>
                  <a:cxn ang="0">
                    <a:pos x="565" y="80"/>
                  </a:cxn>
                  <a:cxn ang="0">
                    <a:pos x="604" y="110"/>
                  </a:cxn>
                  <a:cxn ang="0">
                    <a:pos x="670" y="14"/>
                  </a:cxn>
                  <a:cxn ang="0">
                    <a:pos x="766" y="39"/>
                  </a:cxn>
                  <a:cxn ang="0">
                    <a:pos x="787" y="33"/>
                  </a:cxn>
                  <a:cxn ang="0">
                    <a:pos x="832" y="33"/>
                  </a:cxn>
                </a:cxnLst>
                <a:rect l="0" t="0" r="r" b="b"/>
                <a:pathLst>
                  <a:path w="1368" h="1372">
                    <a:moveTo>
                      <a:pt x="873" y="78"/>
                    </a:moveTo>
                    <a:lnTo>
                      <a:pt x="873" y="78"/>
                    </a:lnTo>
                    <a:lnTo>
                      <a:pt x="877" y="84"/>
                    </a:lnTo>
                    <a:lnTo>
                      <a:pt x="877" y="90"/>
                    </a:lnTo>
                    <a:lnTo>
                      <a:pt x="875" y="92"/>
                    </a:lnTo>
                    <a:lnTo>
                      <a:pt x="871" y="94"/>
                    </a:lnTo>
                    <a:lnTo>
                      <a:pt x="866" y="94"/>
                    </a:lnTo>
                    <a:lnTo>
                      <a:pt x="860" y="92"/>
                    </a:lnTo>
                    <a:lnTo>
                      <a:pt x="864" y="110"/>
                    </a:lnTo>
                    <a:lnTo>
                      <a:pt x="889" y="131"/>
                    </a:lnTo>
                    <a:lnTo>
                      <a:pt x="889" y="135"/>
                    </a:lnTo>
                    <a:lnTo>
                      <a:pt x="889" y="139"/>
                    </a:lnTo>
                    <a:lnTo>
                      <a:pt x="887" y="141"/>
                    </a:lnTo>
                    <a:lnTo>
                      <a:pt x="885" y="147"/>
                    </a:lnTo>
                    <a:lnTo>
                      <a:pt x="877" y="153"/>
                    </a:lnTo>
                    <a:lnTo>
                      <a:pt x="975" y="223"/>
                    </a:lnTo>
                    <a:lnTo>
                      <a:pt x="973" y="239"/>
                    </a:lnTo>
                    <a:lnTo>
                      <a:pt x="993" y="256"/>
                    </a:lnTo>
                    <a:lnTo>
                      <a:pt x="987" y="284"/>
                    </a:lnTo>
                    <a:lnTo>
                      <a:pt x="967" y="280"/>
                    </a:lnTo>
                    <a:lnTo>
                      <a:pt x="975" y="313"/>
                    </a:lnTo>
                    <a:lnTo>
                      <a:pt x="967" y="319"/>
                    </a:lnTo>
                    <a:lnTo>
                      <a:pt x="957" y="317"/>
                    </a:lnTo>
                    <a:lnTo>
                      <a:pt x="959" y="338"/>
                    </a:lnTo>
                    <a:lnTo>
                      <a:pt x="993" y="364"/>
                    </a:lnTo>
                    <a:lnTo>
                      <a:pt x="1006" y="405"/>
                    </a:lnTo>
                    <a:lnTo>
                      <a:pt x="1024" y="420"/>
                    </a:lnTo>
                    <a:lnTo>
                      <a:pt x="1034" y="450"/>
                    </a:lnTo>
                    <a:lnTo>
                      <a:pt x="1260" y="628"/>
                    </a:lnTo>
                    <a:lnTo>
                      <a:pt x="1298" y="637"/>
                    </a:lnTo>
                    <a:lnTo>
                      <a:pt x="1309" y="645"/>
                    </a:lnTo>
                    <a:lnTo>
                      <a:pt x="1315" y="667"/>
                    </a:lnTo>
                    <a:lnTo>
                      <a:pt x="1350" y="704"/>
                    </a:lnTo>
                    <a:lnTo>
                      <a:pt x="1344" y="725"/>
                    </a:lnTo>
                    <a:lnTo>
                      <a:pt x="1368" y="764"/>
                    </a:lnTo>
                    <a:lnTo>
                      <a:pt x="1368" y="776"/>
                    </a:lnTo>
                    <a:lnTo>
                      <a:pt x="1346" y="807"/>
                    </a:lnTo>
                    <a:lnTo>
                      <a:pt x="1341" y="800"/>
                    </a:lnTo>
                    <a:lnTo>
                      <a:pt x="1298" y="780"/>
                    </a:lnTo>
                    <a:lnTo>
                      <a:pt x="1292" y="800"/>
                    </a:lnTo>
                    <a:lnTo>
                      <a:pt x="1284" y="809"/>
                    </a:lnTo>
                    <a:lnTo>
                      <a:pt x="1280" y="811"/>
                    </a:lnTo>
                    <a:lnTo>
                      <a:pt x="1266" y="809"/>
                    </a:lnTo>
                    <a:lnTo>
                      <a:pt x="1262" y="868"/>
                    </a:lnTo>
                    <a:lnTo>
                      <a:pt x="1227" y="915"/>
                    </a:lnTo>
                    <a:lnTo>
                      <a:pt x="1116" y="950"/>
                    </a:lnTo>
                    <a:lnTo>
                      <a:pt x="1106" y="975"/>
                    </a:lnTo>
                    <a:lnTo>
                      <a:pt x="1075" y="997"/>
                    </a:lnTo>
                    <a:lnTo>
                      <a:pt x="1077" y="1011"/>
                    </a:lnTo>
                    <a:lnTo>
                      <a:pt x="1135" y="1087"/>
                    </a:lnTo>
                    <a:lnTo>
                      <a:pt x="1137" y="1171"/>
                    </a:lnTo>
                    <a:lnTo>
                      <a:pt x="1145" y="1185"/>
                    </a:lnTo>
                    <a:lnTo>
                      <a:pt x="1159" y="1181"/>
                    </a:lnTo>
                    <a:lnTo>
                      <a:pt x="1172" y="1185"/>
                    </a:lnTo>
                    <a:lnTo>
                      <a:pt x="1184" y="1214"/>
                    </a:lnTo>
                    <a:lnTo>
                      <a:pt x="1169" y="1253"/>
                    </a:lnTo>
                    <a:lnTo>
                      <a:pt x="1174" y="1280"/>
                    </a:lnTo>
                    <a:lnTo>
                      <a:pt x="1141" y="1284"/>
                    </a:lnTo>
                    <a:lnTo>
                      <a:pt x="1098" y="1261"/>
                    </a:lnTo>
                    <a:lnTo>
                      <a:pt x="1094" y="1214"/>
                    </a:lnTo>
                    <a:lnTo>
                      <a:pt x="1086" y="1208"/>
                    </a:lnTo>
                    <a:lnTo>
                      <a:pt x="1006" y="1204"/>
                    </a:lnTo>
                    <a:lnTo>
                      <a:pt x="997" y="1194"/>
                    </a:lnTo>
                    <a:lnTo>
                      <a:pt x="963" y="1185"/>
                    </a:lnTo>
                    <a:lnTo>
                      <a:pt x="948" y="1173"/>
                    </a:lnTo>
                    <a:lnTo>
                      <a:pt x="920" y="1185"/>
                    </a:lnTo>
                    <a:lnTo>
                      <a:pt x="916" y="1194"/>
                    </a:lnTo>
                    <a:lnTo>
                      <a:pt x="918" y="1224"/>
                    </a:lnTo>
                    <a:lnTo>
                      <a:pt x="903" y="1245"/>
                    </a:lnTo>
                    <a:lnTo>
                      <a:pt x="895" y="1226"/>
                    </a:lnTo>
                    <a:lnTo>
                      <a:pt x="891" y="1224"/>
                    </a:lnTo>
                    <a:lnTo>
                      <a:pt x="770" y="1226"/>
                    </a:lnTo>
                    <a:lnTo>
                      <a:pt x="762" y="1261"/>
                    </a:lnTo>
                    <a:lnTo>
                      <a:pt x="723" y="1263"/>
                    </a:lnTo>
                    <a:lnTo>
                      <a:pt x="715" y="1284"/>
                    </a:lnTo>
                    <a:lnTo>
                      <a:pt x="703" y="1298"/>
                    </a:lnTo>
                    <a:lnTo>
                      <a:pt x="651" y="1315"/>
                    </a:lnTo>
                    <a:lnTo>
                      <a:pt x="637" y="1306"/>
                    </a:lnTo>
                    <a:lnTo>
                      <a:pt x="586" y="1308"/>
                    </a:lnTo>
                    <a:lnTo>
                      <a:pt x="576" y="1300"/>
                    </a:lnTo>
                    <a:lnTo>
                      <a:pt x="572" y="1294"/>
                    </a:lnTo>
                    <a:lnTo>
                      <a:pt x="584" y="1245"/>
                    </a:lnTo>
                    <a:lnTo>
                      <a:pt x="516" y="1263"/>
                    </a:lnTo>
                    <a:lnTo>
                      <a:pt x="459" y="1239"/>
                    </a:lnTo>
                    <a:lnTo>
                      <a:pt x="451" y="1263"/>
                    </a:lnTo>
                    <a:lnTo>
                      <a:pt x="445" y="1269"/>
                    </a:lnTo>
                    <a:lnTo>
                      <a:pt x="438" y="1269"/>
                    </a:lnTo>
                    <a:lnTo>
                      <a:pt x="436" y="1267"/>
                    </a:lnTo>
                    <a:lnTo>
                      <a:pt x="432" y="1251"/>
                    </a:lnTo>
                    <a:lnTo>
                      <a:pt x="441" y="1233"/>
                    </a:lnTo>
                    <a:lnTo>
                      <a:pt x="438" y="1222"/>
                    </a:lnTo>
                    <a:lnTo>
                      <a:pt x="428" y="1214"/>
                    </a:lnTo>
                    <a:lnTo>
                      <a:pt x="402" y="1247"/>
                    </a:lnTo>
                    <a:lnTo>
                      <a:pt x="398" y="1272"/>
                    </a:lnTo>
                    <a:lnTo>
                      <a:pt x="400" y="1274"/>
                    </a:lnTo>
                    <a:lnTo>
                      <a:pt x="402" y="1276"/>
                    </a:lnTo>
                    <a:lnTo>
                      <a:pt x="410" y="1274"/>
                    </a:lnTo>
                    <a:lnTo>
                      <a:pt x="404" y="1335"/>
                    </a:lnTo>
                    <a:lnTo>
                      <a:pt x="330" y="1372"/>
                    </a:lnTo>
                    <a:lnTo>
                      <a:pt x="332" y="1353"/>
                    </a:lnTo>
                    <a:lnTo>
                      <a:pt x="332" y="1345"/>
                    </a:lnTo>
                    <a:lnTo>
                      <a:pt x="322" y="1339"/>
                    </a:lnTo>
                    <a:lnTo>
                      <a:pt x="312" y="1337"/>
                    </a:lnTo>
                    <a:lnTo>
                      <a:pt x="309" y="1319"/>
                    </a:lnTo>
                    <a:lnTo>
                      <a:pt x="322" y="1302"/>
                    </a:lnTo>
                    <a:lnTo>
                      <a:pt x="291" y="1267"/>
                    </a:lnTo>
                    <a:lnTo>
                      <a:pt x="287" y="1253"/>
                    </a:lnTo>
                    <a:lnTo>
                      <a:pt x="283" y="1249"/>
                    </a:lnTo>
                    <a:lnTo>
                      <a:pt x="264" y="1251"/>
                    </a:lnTo>
                    <a:lnTo>
                      <a:pt x="244" y="1216"/>
                    </a:lnTo>
                    <a:lnTo>
                      <a:pt x="197" y="1251"/>
                    </a:lnTo>
                    <a:lnTo>
                      <a:pt x="189" y="1249"/>
                    </a:lnTo>
                    <a:lnTo>
                      <a:pt x="170" y="1233"/>
                    </a:lnTo>
                    <a:lnTo>
                      <a:pt x="185" y="1216"/>
                    </a:lnTo>
                    <a:lnTo>
                      <a:pt x="195" y="1214"/>
                    </a:lnTo>
                    <a:lnTo>
                      <a:pt x="205" y="1214"/>
                    </a:lnTo>
                    <a:lnTo>
                      <a:pt x="244" y="1185"/>
                    </a:lnTo>
                    <a:lnTo>
                      <a:pt x="266" y="1194"/>
                    </a:lnTo>
                    <a:lnTo>
                      <a:pt x="283" y="1181"/>
                    </a:lnTo>
                    <a:lnTo>
                      <a:pt x="299" y="1181"/>
                    </a:lnTo>
                    <a:lnTo>
                      <a:pt x="316" y="1202"/>
                    </a:lnTo>
                    <a:lnTo>
                      <a:pt x="334" y="1167"/>
                    </a:lnTo>
                    <a:lnTo>
                      <a:pt x="330" y="1155"/>
                    </a:lnTo>
                    <a:lnTo>
                      <a:pt x="322" y="1151"/>
                    </a:lnTo>
                    <a:lnTo>
                      <a:pt x="322" y="1145"/>
                    </a:lnTo>
                    <a:lnTo>
                      <a:pt x="332" y="1120"/>
                    </a:lnTo>
                    <a:lnTo>
                      <a:pt x="328" y="1108"/>
                    </a:lnTo>
                    <a:lnTo>
                      <a:pt x="322" y="1104"/>
                    </a:lnTo>
                    <a:lnTo>
                      <a:pt x="275" y="886"/>
                    </a:lnTo>
                    <a:lnTo>
                      <a:pt x="309" y="862"/>
                    </a:lnTo>
                    <a:lnTo>
                      <a:pt x="316" y="848"/>
                    </a:lnTo>
                    <a:lnTo>
                      <a:pt x="365" y="831"/>
                    </a:lnTo>
                    <a:lnTo>
                      <a:pt x="369" y="825"/>
                    </a:lnTo>
                    <a:lnTo>
                      <a:pt x="367" y="817"/>
                    </a:lnTo>
                    <a:lnTo>
                      <a:pt x="375" y="811"/>
                    </a:lnTo>
                    <a:lnTo>
                      <a:pt x="361" y="764"/>
                    </a:lnTo>
                    <a:lnTo>
                      <a:pt x="373" y="751"/>
                    </a:lnTo>
                    <a:lnTo>
                      <a:pt x="379" y="751"/>
                    </a:lnTo>
                    <a:lnTo>
                      <a:pt x="406" y="768"/>
                    </a:lnTo>
                    <a:lnTo>
                      <a:pt x="410" y="755"/>
                    </a:lnTo>
                    <a:lnTo>
                      <a:pt x="412" y="753"/>
                    </a:lnTo>
                    <a:lnTo>
                      <a:pt x="422" y="757"/>
                    </a:lnTo>
                    <a:lnTo>
                      <a:pt x="428" y="768"/>
                    </a:lnTo>
                    <a:lnTo>
                      <a:pt x="441" y="755"/>
                    </a:lnTo>
                    <a:lnTo>
                      <a:pt x="441" y="731"/>
                    </a:lnTo>
                    <a:lnTo>
                      <a:pt x="428" y="719"/>
                    </a:lnTo>
                    <a:lnTo>
                      <a:pt x="418" y="643"/>
                    </a:lnTo>
                    <a:lnTo>
                      <a:pt x="338" y="528"/>
                    </a:lnTo>
                    <a:lnTo>
                      <a:pt x="334" y="489"/>
                    </a:lnTo>
                    <a:lnTo>
                      <a:pt x="330" y="465"/>
                    </a:lnTo>
                    <a:lnTo>
                      <a:pt x="340" y="458"/>
                    </a:lnTo>
                    <a:lnTo>
                      <a:pt x="342" y="450"/>
                    </a:lnTo>
                    <a:lnTo>
                      <a:pt x="318" y="379"/>
                    </a:lnTo>
                    <a:lnTo>
                      <a:pt x="287" y="407"/>
                    </a:lnTo>
                    <a:lnTo>
                      <a:pt x="283" y="409"/>
                    </a:lnTo>
                    <a:lnTo>
                      <a:pt x="275" y="403"/>
                    </a:lnTo>
                    <a:lnTo>
                      <a:pt x="271" y="381"/>
                    </a:lnTo>
                    <a:lnTo>
                      <a:pt x="264" y="372"/>
                    </a:lnTo>
                    <a:lnTo>
                      <a:pt x="246" y="379"/>
                    </a:lnTo>
                    <a:lnTo>
                      <a:pt x="248" y="329"/>
                    </a:lnTo>
                    <a:lnTo>
                      <a:pt x="238" y="319"/>
                    </a:lnTo>
                    <a:lnTo>
                      <a:pt x="230" y="319"/>
                    </a:lnTo>
                    <a:lnTo>
                      <a:pt x="230" y="327"/>
                    </a:lnTo>
                    <a:lnTo>
                      <a:pt x="226" y="332"/>
                    </a:lnTo>
                    <a:lnTo>
                      <a:pt x="213" y="334"/>
                    </a:lnTo>
                    <a:lnTo>
                      <a:pt x="211" y="325"/>
                    </a:lnTo>
                    <a:lnTo>
                      <a:pt x="205" y="321"/>
                    </a:lnTo>
                    <a:lnTo>
                      <a:pt x="191" y="323"/>
                    </a:lnTo>
                    <a:lnTo>
                      <a:pt x="191" y="329"/>
                    </a:lnTo>
                    <a:lnTo>
                      <a:pt x="189" y="334"/>
                    </a:lnTo>
                    <a:lnTo>
                      <a:pt x="185" y="336"/>
                    </a:lnTo>
                    <a:lnTo>
                      <a:pt x="178" y="334"/>
                    </a:lnTo>
                    <a:lnTo>
                      <a:pt x="176" y="299"/>
                    </a:lnTo>
                    <a:lnTo>
                      <a:pt x="174" y="293"/>
                    </a:lnTo>
                    <a:lnTo>
                      <a:pt x="164" y="301"/>
                    </a:lnTo>
                    <a:lnTo>
                      <a:pt x="158" y="313"/>
                    </a:lnTo>
                    <a:lnTo>
                      <a:pt x="109" y="303"/>
                    </a:lnTo>
                    <a:lnTo>
                      <a:pt x="103" y="309"/>
                    </a:lnTo>
                    <a:lnTo>
                      <a:pt x="99" y="317"/>
                    </a:lnTo>
                    <a:lnTo>
                      <a:pt x="111" y="329"/>
                    </a:lnTo>
                    <a:lnTo>
                      <a:pt x="111" y="340"/>
                    </a:lnTo>
                    <a:lnTo>
                      <a:pt x="68" y="379"/>
                    </a:lnTo>
                    <a:lnTo>
                      <a:pt x="31" y="381"/>
                    </a:lnTo>
                    <a:lnTo>
                      <a:pt x="23" y="379"/>
                    </a:lnTo>
                    <a:lnTo>
                      <a:pt x="13" y="364"/>
                    </a:lnTo>
                    <a:lnTo>
                      <a:pt x="4" y="293"/>
                    </a:lnTo>
                    <a:lnTo>
                      <a:pt x="0" y="254"/>
                    </a:lnTo>
                    <a:lnTo>
                      <a:pt x="0" y="215"/>
                    </a:lnTo>
                    <a:lnTo>
                      <a:pt x="15" y="202"/>
                    </a:lnTo>
                    <a:lnTo>
                      <a:pt x="17" y="190"/>
                    </a:lnTo>
                    <a:lnTo>
                      <a:pt x="6" y="170"/>
                    </a:lnTo>
                    <a:lnTo>
                      <a:pt x="17" y="151"/>
                    </a:lnTo>
                    <a:lnTo>
                      <a:pt x="37" y="141"/>
                    </a:lnTo>
                    <a:lnTo>
                      <a:pt x="51" y="149"/>
                    </a:lnTo>
                    <a:lnTo>
                      <a:pt x="68" y="143"/>
                    </a:lnTo>
                    <a:lnTo>
                      <a:pt x="72" y="135"/>
                    </a:lnTo>
                    <a:lnTo>
                      <a:pt x="115" y="131"/>
                    </a:lnTo>
                    <a:lnTo>
                      <a:pt x="121" y="135"/>
                    </a:lnTo>
                    <a:lnTo>
                      <a:pt x="125" y="149"/>
                    </a:lnTo>
                    <a:lnTo>
                      <a:pt x="152" y="141"/>
                    </a:lnTo>
                    <a:lnTo>
                      <a:pt x="150" y="106"/>
                    </a:lnTo>
                    <a:lnTo>
                      <a:pt x="158" y="90"/>
                    </a:lnTo>
                    <a:lnTo>
                      <a:pt x="185" y="88"/>
                    </a:lnTo>
                    <a:lnTo>
                      <a:pt x="223" y="55"/>
                    </a:lnTo>
                    <a:lnTo>
                      <a:pt x="228" y="33"/>
                    </a:lnTo>
                    <a:lnTo>
                      <a:pt x="242" y="24"/>
                    </a:lnTo>
                    <a:lnTo>
                      <a:pt x="246" y="26"/>
                    </a:lnTo>
                    <a:lnTo>
                      <a:pt x="254" y="39"/>
                    </a:lnTo>
                    <a:lnTo>
                      <a:pt x="295" y="20"/>
                    </a:lnTo>
                    <a:lnTo>
                      <a:pt x="316" y="0"/>
                    </a:lnTo>
                    <a:lnTo>
                      <a:pt x="350" y="0"/>
                    </a:lnTo>
                    <a:lnTo>
                      <a:pt x="357" y="2"/>
                    </a:lnTo>
                    <a:lnTo>
                      <a:pt x="361" y="22"/>
                    </a:lnTo>
                    <a:lnTo>
                      <a:pt x="375" y="20"/>
                    </a:lnTo>
                    <a:lnTo>
                      <a:pt x="465" y="86"/>
                    </a:lnTo>
                    <a:lnTo>
                      <a:pt x="459" y="110"/>
                    </a:lnTo>
                    <a:lnTo>
                      <a:pt x="506" y="139"/>
                    </a:lnTo>
                    <a:lnTo>
                      <a:pt x="514" y="139"/>
                    </a:lnTo>
                    <a:lnTo>
                      <a:pt x="516" y="125"/>
                    </a:lnTo>
                    <a:lnTo>
                      <a:pt x="518" y="121"/>
                    </a:lnTo>
                    <a:lnTo>
                      <a:pt x="533" y="121"/>
                    </a:lnTo>
                    <a:lnTo>
                      <a:pt x="537" y="106"/>
                    </a:lnTo>
                    <a:lnTo>
                      <a:pt x="535" y="102"/>
                    </a:lnTo>
                    <a:lnTo>
                      <a:pt x="514" y="96"/>
                    </a:lnTo>
                    <a:lnTo>
                      <a:pt x="561" y="59"/>
                    </a:lnTo>
                    <a:lnTo>
                      <a:pt x="565" y="59"/>
                    </a:lnTo>
                    <a:lnTo>
                      <a:pt x="567" y="61"/>
                    </a:lnTo>
                    <a:lnTo>
                      <a:pt x="565" y="80"/>
                    </a:lnTo>
                    <a:lnTo>
                      <a:pt x="582" y="78"/>
                    </a:lnTo>
                    <a:lnTo>
                      <a:pt x="590" y="84"/>
                    </a:lnTo>
                    <a:lnTo>
                      <a:pt x="598" y="108"/>
                    </a:lnTo>
                    <a:lnTo>
                      <a:pt x="604" y="110"/>
                    </a:lnTo>
                    <a:lnTo>
                      <a:pt x="651" y="94"/>
                    </a:lnTo>
                    <a:lnTo>
                      <a:pt x="635" y="20"/>
                    </a:lnTo>
                    <a:lnTo>
                      <a:pt x="653" y="6"/>
                    </a:lnTo>
                    <a:lnTo>
                      <a:pt x="670" y="14"/>
                    </a:lnTo>
                    <a:lnTo>
                      <a:pt x="684" y="45"/>
                    </a:lnTo>
                    <a:lnTo>
                      <a:pt x="729" y="47"/>
                    </a:lnTo>
                    <a:lnTo>
                      <a:pt x="756" y="33"/>
                    </a:lnTo>
                    <a:lnTo>
                      <a:pt x="766" y="39"/>
                    </a:lnTo>
                    <a:lnTo>
                      <a:pt x="772" y="30"/>
                    </a:lnTo>
                    <a:lnTo>
                      <a:pt x="774" y="28"/>
                    </a:lnTo>
                    <a:lnTo>
                      <a:pt x="780" y="28"/>
                    </a:lnTo>
                    <a:lnTo>
                      <a:pt x="787" y="33"/>
                    </a:lnTo>
                    <a:lnTo>
                      <a:pt x="789" y="37"/>
                    </a:lnTo>
                    <a:lnTo>
                      <a:pt x="789" y="41"/>
                    </a:lnTo>
                    <a:lnTo>
                      <a:pt x="795" y="41"/>
                    </a:lnTo>
                    <a:lnTo>
                      <a:pt x="832" y="33"/>
                    </a:lnTo>
                    <a:lnTo>
                      <a:pt x="873" y="78"/>
                    </a:lnTo>
                    <a:close/>
                  </a:path>
                </a:pathLst>
              </a:custGeom>
              <a:solidFill>
                <a:srgbClr val="DADAE1"/>
              </a:solidFill>
              <a:ln w="14288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eaLnBrk="0" fontAlgn="auto" hangingPunct="0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e-DE" sz="1800" kern="0">
                  <a:solidFill>
                    <a:sysClr val="windowText" lastClr="000000"/>
                  </a:solidFill>
                  <a:latin typeface="DIN-Medium" pitchFamily="34" charset="0"/>
                  <a:cs typeface="+mn-cs"/>
                </a:endParaRPr>
              </a:p>
            </p:txBody>
          </p:sp>
          <p:sp>
            <p:nvSpPr>
              <p:cNvPr id="86" name="Sachsen"/>
              <p:cNvSpPr>
                <a:spLocks/>
              </p:cNvSpPr>
              <p:nvPr/>
            </p:nvSpPr>
            <p:spPr bwMode="auto">
              <a:xfrm>
                <a:off x="2967038" y="3338513"/>
                <a:ext cx="1306512" cy="1017587"/>
              </a:xfrm>
              <a:custGeom>
                <a:avLst/>
                <a:gdLst/>
                <a:ahLst/>
                <a:cxnLst>
                  <a:cxn ang="0">
                    <a:pos x="747" y="26"/>
                  </a:cxn>
                  <a:cxn ang="0">
                    <a:pos x="810" y="108"/>
                  </a:cxn>
                  <a:cxn ang="0">
                    <a:pos x="769" y="329"/>
                  </a:cxn>
                  <a:cxn ang="0">
                    <a:pos x="753" y="335"/>
                  </a:cxn>
                  <a:cxn ang="0">
                    <a:pos x="738" y="286"/>
                  </a:cxn>
                  <a:cxn ang="0">
                    <a:pos x="689" y="256"/>
                  </a:cxn>
                  <a:cxn ang="0">
                    <a:pos x="622" y="276"/>
                  </a:cxn>
                  <a:cxn ang="0">
                    <a:pos x="640" y="335"/>
                  </a:cxn>
                  <a:cxn ang="0">
                    <a:pos x="495" y="409"/>
                  </a:cxn>
                  <a:cxn ang="0">
                    <a:pos x="437" y="434"/>
                  </a:cxn>
                  <a:cxn ang="0">
                    <a:pos x="390" y="450"/>
                  </a:cxn>
                  <a:cxn ang="0">
                    <a:pos x="272" y="544"/>
                  </a:cxn>
                  <a:cxn ang="0">
                    <a:pos x="235" y="538"/>
                  </a:cxn>
                  <a:cxn ang="0">
                    <a:pos x="194" y="559"/>
                  </a:cxn>
                  <a:cxn ang="0">
                    <a:pos x="134" y="649"/>
                  </a:cxn>
                  <a:cxn ang="0">
                    <a:pos x="122" y="651"/>
                  </a:cxn>
                  <a:cxn ang="0">
                    <a:pos x="89" y="591"/>
                  </a:cxn>
                  <a:cxn ang="0">
                    <a:pos x="9" y="538"/>
                  </a:cxn>
                  <a:cxn ang="0">
                    <a:pos x="26" y="509"/>
                  </a:cxn>
                  <a:cxn ang="0">
                    <a:pos x="5" y="481"/>
                  </a:cxn>
                  <a:cxn ang="0">
                    <a:pos x="46" y="456"/>
                  </a:cxn>
                  <a:cxn ang="0">
                    <a:pos x="57" y="479"/>
                  </a:cxn>
                  <a:cxn ang="0">
                    <a:pos x="75" y="466"/>
                  </a:cxn>
                  <a:cxn ang="0">
                    <a:pos x="75" y="450"/>
                  </a:cxn>
                  <a:cxn ang="0">
                    <a:pos x="112" y="442"/>
                  </a:cxn>
                  <a:cxn ang="0">
                    <a:pos x="87" y="401"/>
                  </a:cxn>
                  <a:cxn ang="0">
                    <a:pos x="136" y="350"/>
                  </a:cxn>
                  <a:cxn ang="0">
                    <a:pos x="196" y="333"/>
                  </a:cxn>
                  <a:cxn ang="0">
                    <a:pos x="132" y="260"/>
                  </a:cxn>
                  <a:cxn ang="0">
                    <a:pos x="77" y="235"/>
                  </a:cxn>
                  <a:cxn ang="0">
                    <a:pos x="79" y="137"/>
                  </a:cxn>
                  <a:cxn ang="0">
                    <a:pos x="75" y="65"/>
                  </a:cxn>
                  <a:cxn ang="0">
                    <a:pos x="200" y="14"/>
                  </a:cxn>
                  <a:cxn ang="0">
                    <a:pos x="223" y="3"/>
                  </a:cxn>
                  <a:cxn ang="0">
                    <a:pos x="294" y="11"/>
                  </a:cxn>
                  <a:cxn ang="0">
                    <a:pos x="347" y="100"/>
                  </a:cxn>
                  <a:cxn ang="0">
                    <a:pos x="426" y="98"/>
                  </a:cxn>
                  <a:cxn ang="0">
                    <a:pos x="565" y="107"/>
                  </a:cxn>
                  <a:cxn ang="0">
                    <a:pos x="573" y="73"/>
                  </a:cxn>
                  <a:cxn ang="0">
                    <a:pos x="747" y="26"/>
                  </a:cxn>
                </a:cxnLst>
                <a:rect l="0" t="0" r="r" b="b"/>
                <a:pathLst>
                  <a:path w="839" h="653">
                    <a:moveTo>
                      <a:pt x="747" y="26"/>
                    </a:moveTo>
                    <a:lnTo>
                      <a:pt x="747" y="26"/>
                    </a:lnTo>
                    <a:lnTo>
                      <a:pt x="804" y="67"/>
                    </a:lnTo>
                    <a:lnTo>
                      <a:pt x="810" y="108"/>
                    </a:lnTo>
                    <a:lnTo>
                      <a:pt x="839" y="145"/>
                    </a:lnTo>
                    <a:lnTo>
                      <a:pt x="769" y="329"/>
                    </a:lnTo>
                    <a:lnTo>
                      <a:pt x="759" y="335"/>
                    </a:lnTo>
                    <a:lnTo>
                      <a:pt x="753" y="335"/>
                    </a:lnTo>
                    <a:lnTo>
                      <a:pt x="745" y="329"/>
                    </a:lnTo>
                    <a:lnTo>
                      <a:pt x="738" y="286"/>
                    </a:lnTo>
                    <a:lnTo>
                      <a:pt x="710" y="278"/>
                    </a:lnTo>
                    <a:lnTo>
                      <a:pt x="689" y="256"/>
                    </a:lnTo>
                    <a:lnTo>
                      <a:pt x="636" y="264"/>
                    </a:lnTo>
                    <a:lnTo>
                      <a:pt x="622" y="276"/>
                    </a:lnTo>
                    <a:lnTo>
                      <a:pt x="642" y="290"/>
                    </a:lnTo>
                    <a:lnTo>
                      <a:pt x="640" y="335"/>
                    </a:lnTo>
                    <a:lnTo>
                      <a:pt x="548" y="360"/>
                    </a:lnTo>
                    <a:lnTo>
                      <a:pt x="495" y="409"/>
                    </a:lnTo>
                    <a:lnTo>
                      <a:pt x="444" y="405"/>
                    </a:lnTo>
                    <a:lnTo>
                      <a:pt x="437" y="434"/>
                    </a:lnTo>
                    <a:lnTo>
                      <a:pt x="427" y="446"/>
                    </a:lnTo>
                    <a:lnTo>
                      <a:pt x="390" y="450"/>
                    </a:lnTo>
                    <a:lnTo>
                      <a:pt x="300" y="540"/>
                    </a:lnTo>
                    <a:lnTo>
                      <a:pt x="272" y="544"/>
                    </a:lnTo>
                    <a:lnTo>
                      <a:pt x="249" y="536"/>
                    </a:lnTo>
                    <a:lnTo>
                      <a:pt x="235" y="538"/>
                    </a:lnTo>
                    <a:lnTo>
                      <a:pt x="204" y="563"/>
                    </a:lnTo>
                    <a:lnTo>
                      <a:pt x="194" y="559"/>
                    </a:lnTo>
                    <a:lnTo>
                      <a:pt x="124" y="612"/>
                    </a:lnTo>
                    <a:lnTo>
                      <a:pt x="134" y="649"/>
                    </a:lnTo>
                    <a:lnTo>
                      <a:pt x="132" y="653"/>
                    </a:lnTo>
                    <a:lnTo>
                      <a:pt x="122" y="651"/>
                    </a:lnTo>
                    <a:lnTo>
                      <a:pt x="104" y="639"/>
                    </a:lnTo>
                    <a:lnTo>
                      <a:pt x="89" y="591"/>
                    </a:lnTo>
                    <a:lnTo>
                      <a:pt x="52" y="593"/>
                    </a:lnTo>
                    <a:lnTo>
                      <a:pt x="9" y="538"/>
                    </a:lnTo>
                    <a:lnTo>
                      <a:pt x="9" y="532"/>
                    </a:lnTo>
                    <a:lnTo>
                      <a:pt x="26" y="509"/>
                    </a:lnTo>
                    <a:lnTo>
                      <a:pt x="0" y="494"/>
                    </a:lnTo>
                    <a:lnTo>
                      <a:pt x="5" y="481"/>
                    </a:lnTo>
                    <a:lnTo>
                      <a:pt x="27" y="461"/>
                    </a:lnTo>
                    <a:lnTo>
                      <a:pt x="46" y="456"/>
                    </a:lnTo>
                    <a:lnTo>
                      <a:pt x="54" y="477"/>
                    </a:lnTo>
                    <a:lnTo>
                      <a:pt x="57" y="479"/>
                    </a:lnTo>
                    <a:lnTo>
                      <a:pt x="63" y="479"/>
                    </a:lnTo>
                    <a:lnTo>
                      <a:pt x="75" y="466"/>
                    </a:lnTo>
                    <a:lnTo>
                      <a:pt x="75" y="452"/>
                    </a:lnTo>
                    <a:lnTo>
                      <a:pt x="75" y="450"/>
                    </a:lnTo>
                    <a:lnTo>
                      <a:pt x="106" y="444"/>
                    </a:lnTo>
                    <a:lnTo>
                      <a:pt x="112" y="442"/>
                    </a:lnTo>
                    <a:lnTo>
                      <a:pt x="112" y="440"/>
                    </a:lnTo>
                    <a:lnTo>
                      <a:pt x="87" y="401"/>
                    </a:lnTo>
                    <a:lnTo>
                      <a:pt x="95" y="374"/>
                    </a:lnTo>
                    <a:lnTo>
                      <a:pt x="136" y="350"/>
                    </a:lnTo>
                    <a:lnTo>
                      <a:pt x="163" y="346"/>
                    </a:lnTo>
                    <a:lnTo>
                      <a:pt x="196" y="333"/>
                    </a:lnTo>
                    <a:lnTo>
                      <a:pt x="200" y="319"/>
                    </a:lnTo>
                    <a:lnTo>
                      <a:pt x="132" y="260"/>
                    </a:lnTo>
                    <a:lnTo>
                      <a:pt x="104" y="254"/>
                    </a:lnTo>
                    <a:lnTo>
                      <a:pt x="77" y="235"/>
                    </a:lnTo>
                    <a:lnTo>
                      <a:pt x="65" y="163"/>
                    </a:lnTo>
                    <a:lnTo>
                      <a:pt x="79" y="137"/>
                    </a:lnTo>
                    <a:lnTo>
                      <a:pt x="61" y="90"/>
                    </a:lnTo>
                    <a:lnTo>
                      <a:pt x="75" y="65"/>
                    </a:lnTo>
                    <a:lnTo>
                      <a:pt x="192" y="26"/>
                    </a:lnTo>
                    <a:lnTo>
                      <a:pt x="200" y="14"/>
                    </a:lnTo>
                    <a:lnTo>
                      <a:pt x="208" y="10"/>
                    </a:lnTo>
                    <a:lnTo>
                      <a:pt x="223" y="3"/>
                    </a:lnTo>
                    <a:lnTo>
                      <a:pt x="245" y="0"/>
                    </a:lnTo>
                    <a:lnTo>
                      <a:pt x="294" y="11"/>
                    </a:lnTo>
                    <a:lnTo>
                      <a:pt x="354" y="65"/>
                    </a:lnTo>
                    <a:lnTo>
                      <a:pt x="347" y="100"/>
                    </a:lnTo>
                    <a:lnTo>
                      <a:pt x="353" y="116"/>
                    </a:lnTo>
                    <a:lnTo>
                      <a:pt x="426" y="98"/>
                    </a:lnTo>
                    <a:lnTo>
                      <a:pt x="466" y="116"/>
                    </a:lnTo>
                    <a:lnTo>
                      <a:pt x="565" y="107"/>
                    </a:lnTo>
                    <a:lnTo>
                      <a:pt x="573" y="104"/>
                    </a:lnTo>
                    <a:lnTo>
                      <a:pt x="573" y="73"/>
                    </a:lnTo>
                    <a:lnTo>
                      <a:pt x="598" y="48"/>
                    </a:lnTo>
                    <a:lnTo>
                      <a:pt x="747" y="26"/>
                    </a:lnTo>
                    <a:close/>
                  </a:path>
                </a:pathLst>
              </a:custGeom>
              <a:solidFill>
                <a:srgbClr val="DADAE1"/>
              </a:solidFill>
              <a:ln w="14288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eaLnBrk="0" fontAlgn="auto" hangingPunct="0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e-DE" sz="1800" kern="0">
                  <a:solidFill>
                    <a:sysClr val="windowText" lastClr="000000"/>
                  </a:solidFill>
                  <a:latin typeface="DIN-Medium" pitchFamily="34" charset="0"/>
                  <a:cs typeface="+mn-cs"/>
                </a:endParaRPr>
              </a:p>
            </p:txBody>
          </p:sp>
          <p:sp>
            <p:nvSpPr>
              <p:cNvPr id="87" name="Brandenburg"/>
              <p:cNvSpPr>
                <a:spLocks/>
              </p:cNvSpPr>
              <p:nvPr/>
            </p:nvSpPr>
            <p:spPr bwMode="auto">
              <a:xfrm>
                <a:off x="2787650" y="2136775"/>
                <a:ext cx="1349375" cy="1387475"/>
              </a:xfrm>
              <a:custGeom>
                <a:avLst/>
                <a:gdLst/>
                <a:ahLst/>
                <a:cxnLst>
                  <a:cxn ang="0">
                    <a:pos x="438" y="804"/>
                  </a:cxn>
                  <a:cxn ang="0">
                    <a:pos x="462" y="866"/>
                  </a:cxn>
                  <a:cxn ang="0">
                    <a:pos x="538" y="870"/>
                  </a:cxn>
                  <a:cxn ang="0">
                    <a:pos x="661" y="876"/>
                  </a:cxn>
                  <a:cxn ang="0">
                    <a:pos x="679" y="878"/>
                  </a:cxn>
                  <a:cxn ang="0">
                    <a:pos x="692" y="839"/>
                  </a:cxn>
                  <a:cxn ang="0">
                    <a:pos x="862" y="796"/>
                  </a:cxn>
                  <a:cxn ang="0">
                    <a:pos x="823" y="690"/>
                  </a:cxn>
                  <a:cxn ang="0">
                    <a:pos x="847" y="575"/>
                  </a:cxn>
                  <a:cxn ang="0">
                    <a:pos x="821" y="514"/>
                  </a:cxn>
                  <a:cxn ang="0">
                    <a:pos x="796" y="376"/>
                  </a:cxn>
                  <a:cxn ang="0">
                    <a:pos x="673" y="202"/>
                  </a:cxn>
                  <a:cxn ang="0">
                    <a:pos x="731" y="38"/>
                  </a:cxn>
                  <a:cxn ang="0">
                    <a:pos x="700" y="69"/>
                  </a:cxn>
                  <a:cxn ang="0">
                    <a:pos x="683" y="75"/>
                  </a:cxn>
                  <a:cxn ang="0">
                    <a:pos x="673" y="38"/>
                  </a:cxn>
                  <a:cxn ang="0">
                    <a:pos x="616" y="0"/>
                  </a:cxn>
                  <a:cxn ang="0">
                    <a:pos x="528" y="22"/>
                  </a:cxn>
                  <a:cxn ang="0">
                    <a:pos x="473" y="86"/>
                  </a:cxn>
                  <a:cxn ang="0">
                    <a:pos x="440" y="104"/>
                  </a:cxn>
                  <a:cxn ang="0">
                    <a:pos x="425" y="100"/>
                  </a:cxn>
                  <a:cxn ang="0">
                    <a:pos x="403" y="122"/>
                  </a:cxn>
                  <a:cxn ang="0">
                    <a:pos x="364" y="122"/>
                  </a:cxn>
                  <a:cxn ang="0">
                    <a:pos x="126" y="59"/>
                  </a:cxn>
                  <a:cxn ang="0">
                    <a:pos x="69" y="94"/>
                  </a:cxn>
                  <a:cxn ang="0">
                    <a:pos x="69" y="83"/>
                  </a:cxn>
                  <a:cxn ang="0">
                    <a:pos x="0" y="131"/>
                  </a:cxn>
                  <a:cxn ang="0">
                    <a:pos x="22" y="161"/>
                  </a:cxn>
                  <a:cxn ang="0">
                    <a:pos x="24" y="194"/>
                  </a:cxn>
                  <a:cxn ang="0">
                    <a:pos x="28" y="204"/>
                  </a:cxn>
                  <a:cxn ang="0">
                    <a:pos x="137" y="249"/>
                  </a:cxn>
                  <a:cxn ang="0">
                    <a:pos x="188" y="301"/>
                  </a:cxn>
                  <a:cxn ang="0">
                    <a:pos x="178" y="313"/>
                  </a:cxn>
                  <a:cxn ang="0">
                    <a:pos x="188" y="348"/>
                  </a:cxn>
                  <a:cxn ang="0">
                    <a:pos x="167" y="372"/>
                  </a:cxn>
                  <a:cxn ang="0">
                    <a:pos x="161" y="397"/>
                  </a:cxn>
                  <a:cxn ang="0">
                    <a:pos x="202" y="428"/>
                  </a:cxn>
                  <a:cxn ang="0">
                    <a:pos x="204" y="536"/>
                  </a:cxn>
                  <a:cxn ang="0">
                    <a:pos x="188" y="563"/>
                  </a:cxn>
                  <a:cxn ang="0">
                    <a:pos x="237" y="622"/>
                  </a:cxn>
                  <a:cxn ang="0">
                    <a:pos x="275" y="641"/>
                  </a:cxn>
                  <a:cxn ang="0">
                    <a:pos x="432" y="696"/>
                  </a:cxn>
                  <a:cxn ang="0">
                    <a:pos x="442" y="758"/>
                  </a:cxn>
                  <a:cxn ang="0">
                    <a:pos x="423" y="790"/>
                  </a:cxn>
                  <a:cxn ang="0">
                    <a:pos x="438" y="804"/>
                  </a:cxn>
                </a:cxnLst>
                <a:rect l="0" t="0" r="r" b="b"/>
                <a:pathLst>
                  <a:path w="866" h="890">
                    <a:moveTo>
                      <a:pt x="438" y="804"/>
                    </a:moveTo>
                    <a:lnTo>
                      <a:pt x="438" y="804"/>
                    </a:lnTo>
                    <a:lnTo>
                      <a:pt x="468" y="833"/>
                    </a:lnTo>
                    <a:lnTo>
                      <a:pt x="462" y="866"/>
                    </a:lnTo>
                    <a:lnTo>
                      <a:pt x="468" y="886"/>
                    </a:lnTo>
                    <a:lnTo>
                      <a:pt x="538" y="870"/>
                    </a:lnTo>
                    <a:lnTo>
                      <a:pt x="595" y="890"/>
                    </a:lnTo>
                    <a:lnTo>
                      <a:pt x="661" y="876"/>
                    </a:lnTo>
                    <a:lnTo>
                      <a:pt x="677" y="880"/>
                    </a:lnTo>
                    <a:lnTo>
                      <a:pt x="679" y="878"/>
                    </a:lnTo>
                    <a:lnTo>
                      <a:pt x="683" y="878"/>
                    </a:lnTo>
                    <a:lnTo>
                      <a:pt x="692" y="839"/>
                    </a:lnTo>
                    <a:lnTo>
                      <a:pt x="710" y="821"/>
                    </a:lnTo>
                    <a:lnTo>
                      <a:pt x="862" y="796"/>
                    </a:lnTo>
                    <a:lnTo>
                      <a:pt x="866" y="774"/>
                    </a:lnTo>
                    <a:lnTo>
                      <a:pt x="823" y="690"/>
                    </a:lnTo>
                    <a:lnTo>
                      <a:pt x="855" y="610"/>
                    </a:lnTo>
                    <a:lnTo>
                      <a:pt x="847" y="575"/>
                    </a:lnTo>
                    <a:lnTo>
                      <a:pt x="827" y="555"/>
                    </a:lnTo>
                    <a:lnTo>
                      <a:pt x="821" y="514"/>
                    </a:lnTo>
                    <a:lnTo>
                      <a:pt x="794" y="481"/>
                    </a:lnTo>
                    <a:lnTo>
                      <a:pt x="796" y="376"/>
                    </a:lnTo>
                    <a:lnTo>
                      <a:pt x="665" y="268"/>
                    </a:lnTo>
                    <a:lnTo>
                      <a:pt x="673" y="202"/>
                    </a:lnTo>
                    <a:lnTo>
                      <a:pt x="726" y="139"/>
                    </a:lnTo>
                    <a:lnTo>
                      <a:pt x="731" y="38"/>
                    </a:lnTo>
                    <a:lnTo>
                      <a:pt x="718" y="40"/>
                    </a:lnTo>
                    <a:lnTo>
                      <a:pt x="700" y="69"/>
                    </a:lnTo>
                    <a:lnTo>
                      <a:pt x="688" y="75"/>
                    </a:lnTo>
                    <a:lnTo>
                      <a:pt x="683" y="75"/>
                    </a:lnTo>
                    <a:lnTo>
                      <a:pt x="679" y="71"/>
                    </a:lnTo>
                    <a:lnTo>
                      <a:pt x="673" y="38"/>
                    </a:lnTo>
                    <a:lnTo>
                      <a:pt x="638" y="2"/>
                    </a:lnTo>
                    <a:lnTo>
                      <a:pt x="616" y="0"/>
                    </a:lnTo>
                    <a:lnTo>
                      <a:pt x="597" y="24"/>
                    </a:lnTo>
                    <a:lnTo>
                      <a:pt x="528" y="22"/>
                    </a:lnTo>
                    <a:lnTo>
                      <a:pt x="485" y="94"/>
                    </a:lnTo>
                    <a:lnTo>
                      <a:pt x="473" y="86"/>
                    </a:lnTo>
                    <a:lnTo>
                      <a:pt x="454" y="90"/>
                    </a:lnTo>
                    <a:lnTo>
                      <a:pt x="440" y="104"/>
                    </a:lnTo>
                    <a:lnTo>
                      <a:pt x="432" y="104"/>
                    </a:lnTo>
                    <a:lnTo>
                      <a:pt x="425" y="100"/>
                    </a:lnTo>
                    <a:lnTo>
                      <a:pt x="407" y="104"/>
                    </a:lnTo>
                    <a:lnTo>
                      <a:pt x="403" y="122"/>
                    </a:lnTo>
                    <a:lnTo>
                      <a:pt x="370" y="139"/>
                    </a:lnTo>
                    <a:lnTo>
                      <a:pt x="364" y="122"/>
                    </a:lnTo>
                    <a:lnTo>
                      <a:pt x="141" y="51"/>
                    </a:lnTo>
                    <a:lnTo>
                      <a:pt x="126" y="59"/>
                    </a:lnTo>
                    <a:lnTo>
                      <a:pt x="124" y="77"/>
                    </a:lnTo>
                    <a:lnTo>
                      <a:pt x="69" y="94"/>
                    </a:lnTo>
                    <a:lnTo>
                      <a:pt x="69" y="88"/>
                    </a:lnTo>
                    <a:lnTo>
                      <a:pt x="69" y="83"/>
                    </a:lnTo>
                    <a:lnTo>
                      <a:pt x="4" y="122"/>
                    </a:lnTo>
                    <a:lnTo>
                      <a:pt x="0" y="131"/>
                    </a:lnTo>
                    <a:lnTo>
                      <a:pt x="10" y="153"/>
                    </a:lnTo>
                    <a:lnTo>
                      <a:pt x="22" y="161"/>
                    </a:lnTo>
                    <a:lnTo>
                      <a:pt x="36" y="182"/>
                    </a:lnTo>
                    <a:lnTo>
                      <a:pt x="24" y="194"/>
                    </a:lnTo>
                    <a:lnTo>
                      <a:pt x="24" y="198"/>
                    </a:lnTo>
                    <a:lnTo>
                      <a:pt x="28" y="204"/>
                    </a:lnTo>
                    <a:lnTo>
                      <a:pt x="98" y="251"/>
                    </a:lnTo>
                    <a:lnTo>
                      <a:pt x="137" y="249"/>
                    </a:lnTo>
                    <a:lnTo>
                      <a:pt x="188" y="272"/>
                    </a:lnTo>
                    <a:lnTo>
                      <a:pt x="188" y="301"/>
                    </a:lnTo>
                    <a:lnTo>
                      <a:pt x="188" y="307"/>
                    </a:lnTo>
                    <a:lnTo>
                      <a:pt x="178" y="313"/>
                    </a:lnTo>
                    <a:lnTo>
                      <a:pt x="170" y="319"/>
                    </a:lnTo>
                    <a:lnTo>
                      <a:pt x="188" y="348"/>
                    </a:lnTo>
                    <a:lnTo>
                      <a:pt x="178" y="366"/>
                    </a:lnTo>
                    <a:lnTo>
                      <a:pt x="167" y="372"/>
                    </a:lnTo>
                    <a:lnTo>
                      <a:pt x="161" y="380"/>
                    </a:lnTo>
                    <a:lnTo>
                      <a:pt x="161" y="397"/>
                    </a:lnTo>
                    <a:lnTo>
                      <a:pt x="167" y="407"/>
                    </a:lnTo>
                    <a:lnTo>
                      <a:pt x="202" y="428"/>
                    </a:lnTo>
                    <a:lnTo>
                      <a:pt x="196" y="528"/>
                    </a:lnTo>
                    <a:lnTo>
                      <a:pt x="204" y="536"/>
                    </a:lnTo>
                    <a:lnTo>
                      <a:pt x="206" y="544"/>
                    </a:lnTo>
                    <a:lnTo>
                      <a:pt x="188" y="563"/>
                    </a:lnTo>
                    <a:lnTo>
                      <a:pt x="233" y="620"/>
                    </a:lnTo>
                    <a:lnTo>
                      <a:pt x="237" y="622"/>
                    </a:lnTo>
                    <a:lnTo>
                      <a:pt x="251" y="616"/>
                    </a:lnTo>
                    <a:lnTo>
                      <a:pt x="275" y="641"/>
                    </a:lnTo>
                    <a:lnTo>
                      <a:pt x="313" y="634"/>
                    </a:lnTo>
                    <a:lnTo>
                      <a:pt x="432" y="696"/>
                    </a:lnTo>
                    <a:lnTo>
                      <a:pt x="442" y="739"/>
                    </a:lnTo>
                    <a:lnTo>
                      <a:pt x="442" y="758"/>
                    </a:lnTo>
                    <a:lnTo>
                      <a:pt x="434" y="776"/>
                    </a:lnTo>
                    <a:lnTo>
                      <a:pt x="423" y="790"/>
                    </a:lnTo>
                    <a:lnTo>
                      <a:pt x="438" y="804"/>
                    </a:lnTo>
                    <a:close/>
                  </a:path>
                </a:pathLst>
              </a:custGeom>
              <a:solidFill>
                <a:srgbClr val="DADAE1"/>
              </a:solidFill>
              <a:ln w="14288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eaLnBrk="0" fontAlgn="auto" hangingPunct="0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e-DE" sz="800" kern="0">
                  <a:solidFill>
                    <a:sysClr val="windowText" lastClr="000000"/>
                  </a:solidFill>
                  <a:latin typeface="DIN-Medium" pitchFamily="34" charset="0"/>
                  <a:cs typeface="+mn-cs"/>
                </a:endParaRPr>
              </a:p>
            </p:txBody>
          </p:sp>
          <p:sp>
            <p:nvSpPr>
              <p:cNvPr id="88" name="Berlin"/>
              <p:cNvSpPr>
                <a:spLocks/>
              </p:cNvSpPr>
              <p:nvPr/>
            </p:nvSpPr>
            <p:spPr bwMode="auto">
              <a:xfrm>
                <a:off x="3425825" y="2646363"/>
                <a:ext cx="306388" cy="228600"/>
              </a:xfrm>
              <a:custGeom>
                <a:avLst/>
                <a:gdLst/>
                <a:ahLst/>
                <a:cxnLst>
                  <a:cxn ang="0">
                    <a:pos x="0" y="37"/>
                  </a:cxn>
                  <a:cxn ang="0">
                    <a:pos x="4" y="37"/>
                  </a:cxn>
                  <a:cxn ang="0">
                    <a:pos x="27" y="31"/>
                  </a:cxn>
                  <a:cxn ang="0">
                    <a:pos x="53" y="6"/>
                  </a:cxn>
                  <a:cxn ang="0">
                    <a:pos x="61" y="4"/>
                  </a:cxn>
                  <a:cxn ang="0">
                    <a:pos x="72" y="12"/>
                  </a:cxn>
                  <a:cxn ang="0">
                    <a:pos x="78" y="23"/>
                  </a:cxn>
                  <a:cxn ang="0">
                    <a:pos x="96" y="25"/>
                  </a:cxn>
                  <a:cxn ang="0">
                    <a:pos x="100" y="17"/>
                  </a:cxn>
                  <a:cxn ang="0">
                    <a:pos x="102" y="4"/>
                  </a:cxn>
                  <a:cxn ang="0">
                    <a:pos x="111" y="0"/>
                  </a:cxn>
                  <a:cxn ang="0">
                    <a:pos x="150" y="49"/>
                  </a:cxn>
                  <a:cxn ang="0">
                    <a:pos x="165" y="47"/>
                  </a:cxn>
                  <a:cxn ang="0">
                    <a:pos x="174" y="59"/>
                  </a:cxn>
                  <a:cxn ang="0">
                    <a:pos x="166" y="80"/>
                  </a:cxn>
                  <a:cxn ang="0">
                    <a:pos x="168" y="92"/>
                  </a:cxn>
                  <a:cxn ang="0">
                    <a:pos x="184" y="90"/>
                  </a:cxn>
                  <a:cxn ang="0">
                    <a:pos x="195" y="99"/>
                  </a:cxn>
                  <a:cxn ang="0">
                    <a:pos x="197" y="103"/>
                  </a:cxn>
                  <a:cxn ang="0">
                    <a:pos x="166" y="139"/>
                  </a:cxn>
                  <a:cxn ang="0">
                    <a:pos x="119" y="129"/>
                  </a:cxn>
                  <a:cxn ang="0">
                    <a:pos x="100" y="146"/>
                  </a:cxn>
                  <a:cxn ang="0">
                    <a:pos x="68" y="131"/>
                  </a:cxn>
                  <a:cxn ang="0">
                    <a:pos x="25" y="137"/>
                  </a:cxn>
                  <a:cxn ang="0">
                    <a:pos x="0" y="115"/>
                  </a:cxn>
                  <a:cxn ang="0">
                    <a:pos x="10" y="76"/>
                  </a:cxn>
                  <a:cxn ang="0">
                    <a:pos x="4" y="37"/>
                  </a:cxn>
                  <a:cxn ang="0">
                    <a:pos x="4" y="37"/>
                  </a:cxn>
                  <a:cxn ang="0">
                    <a:pos x="0" y="37"/>
                  </a:cxn>
                </a:cxnLst>
                <a:rect l="0" t="0" r="r" b="b"/>
                <a:pathLst>
                  <a:path w="197" h="146">
                    <a:moveTo>
                      <a:pt x="0" y="37"/>
                    </a:moveTo>
                    <a:lnTo>
                      <a:pt x="4" y="37"/>
                    </a:lnTo>
                    <a:lnTo>
                      <a:pt x="27" y="31"/>
                    </a:lnTo>
                    <a:lnTo>
                      <a:pt x="53" y="6"/>
                    </a:lnTo>
                    <a:lnTo>
                      <a:pt x="61" y="4"/>
                    </a:lnTo>
                    <a:lnTo>
                      <a:pt x="72" y="12"/>
                    </a:lnTo>
                    <a:lnTo>
                      <a:pt x="78" y="23"/>
                    </a:lnTo>
                    <a:lnTo>
                      <a:pt x="96" y="25"/>
                    </a:lnTo>
                    <a:lnTo>
                      <a:pt x="100" y="17"/>
                    </a:lnTo>
                    <a:lnTo>
                      <a:pt x="102" y="4"/>
                    </a:lnTo>
                    <a:lnTo>
                      <a:pt x="111" y="0"/>
                    </a:lnTo>
                    <a:lnTo>
                      <a:pt x="150" y="49"/>
                    </a:lnTo>
                    <a:lnTo>
                      <a:pt x="165" y="47"/>
                    </a:lnTo>
                    <a:lnTo>
                      <a:pt x="174" y="59"/>
                    </a:lnTo>
                    <a:lnTo>
                      <a:pt x="166" y="80"/>
                    </a:lnTo>
                    <a:lnTo>
                      <a:pt x="168" y="92"/>
                    </a:lnTo>
                    <a:lnTo>
                      <a:pt x="184" y="90"/>
                    </a:lnTo>
                    <a:lnTo>
                      <a:pt x="195" y="99"/>
                    </a:lnTo>
                    <a:lnTo>
                      <a:pt x="197" y="103"/>
                    </a:lnTo>
                    <a:lnTo>
                      <a:pt x="166" y="139"/>
                    </a:lnTo>
                    <a:lnTo>
                      <a:pt x="119" y="129"/>
                    </a:lnTo>
                    <a:lnTo>
                      <a:pt x="100" y="146"/>
                    </a:lnTo>
                    <a:lnTo>
                      <a:pt x="68" y="131"/>
                    </a:lnTo>
                    <a:lnTo>
                      <a:pt x="25" y="137"/>
                    </a:lnTo>
                    <a:lnTo>
                      <a:pt x="0" y="115"/>
                    </a:lnTo>
                    <a:lnTo>
                      <a:pt x="10" y="76"/>
                    </a:lnTo>
                    <a:lnTo>
                      <a:pt x="4" y="37"/>
                    </a:lnTo>
                    <a:lnTo>
                      <a:pt x="0" y="37"/>
                    </a:lnTo>
                    <a:close/>
                  </a:path>
                </a:pathLst>
              </a:custGeom>
              <a:solidFill>
                <a:srgbClr val="DADAE1"/>
              </a:solidFill>
              <a:ln w="14288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eaLnBrk="0" fontAlgn="auto" hangingPunct="0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e-DE" sz="800" kern="0">
                  <a:solidFill>
                    <a:sysClr val="windowText" lastClr="000000"/>
                  </a:solidFill>
                  <a:latin typeface="DIN-Medium" pitchFamily="34" charset="0"/>
                  <a:cs typeface="+mn-cs"/>
                </a:endParaRPr>
              </a:p>
            </p:txBody>
          </p:sp>
          <p:sp>
            <p:nvSpPr>
              <p:cNvPr id="89" name="Saarland"/>
              <p:cNvSpPr>
                <a:spLocks/>
              </p:cNvSpPr>
              <p:nvPr/>
            </p:nvSpPr>
            <p:spPr bwMode="auto">
              <a:xfrm>
                <a:off x="542925" y="4670425"/>
                <a:ext cx="508000" cy="368300"/>
              </a:xfrm>
              <a:custGeom>
                <a:avLst/>
                <a:gdLst/>
                <a:ahLst/>
                <a:cxnLst>
                  <a:cxn ang="0">
                    <a:pos x="307" y="200"/>
                  </a:cxn>
                  <a:cxn ang="0">
                    <a:pos x="268" y="198"/>
                  </a:cxn>
                  <a:cxn ang="0">
                    <a:pos x="254" y="237"/>
                  </a:cxn>
                  <a:cxn ang="0">
                    <a:pos x="215" y="215"/>
                  </a:cxn>
                  <a:cxn ang="0">
                    <a:pos x="203" y="215"/>
                  </a:cxn>
                  <a:cxn ang="0">
                    <a:pos x="199" y="215"/>
                  </a:cxn>
                  <a:cxn ang="0">
                    <a:pos x="197" y="210"/>
                  </a:cxn>
                  <a:cxn ang="0">
                    <a:pos x="199" y="198"/>
                  </a:cxn>
                  <a:cxn ang="0">
                    <a:pos x="166" y="204"/>
                  </a:cxn>
                  <a:cxn ang="0">
                    <a:pos x="166" y="192"/>
                  </a:cxn>
                  <a:cxn ang="0">
                    <a:pos x="135" y="182"/>
                  </a:cxn>
                  <a:cxn ang="0">
                    <a:pos x="131" y="184"/>
                  </a:cxn>
                  <a:cxn ang="0">
                    <a:pos x="123" y="208"/>
                  </a:cxn>
                  <a:cxn ang="0">
                    <a:pos x="90" y="192"/>
                  </a:cxn>
                  <a:cxn ang="0">
                    <a:pos x="80" y="157"/>
                  </a:cxn>
                  <a:cxn ang="0">
                    <a:pos x="88" y="112"/>
                  </a:cxn>
                  <a:cxn ang="0">
                    <a:pos x="74" y="104"/>
                  </a:cxn>
                  <a:cxn ang="0">
                    <a:pos x="59" y="81"/>
                  </a:cxn>
                  <a:cxn ang="0">
                    <a:pos x="4" y="55"/>
                  </a:cxn>
                  <a:cxn ang="0">
                    <a:pos x="0" y="45"/>
                  </a:cxn>
                  <a:cxn ang="0">
                    <a:pos x="4" y="26"/>
                  </a:cxn>
                  <a:cxn ang="0">
                    <a:pos x="8" y="24"/>
                  </a:cxn>
                  <a:cxn ang="0">
                    <a:pos x="18" y="28"/>
                  </a:cxn>
                  <a:cxn ang="0">
                    <a:pos x="37" y="43"/>
                  </a:cxn>
                  <a:cxn ang="0">
                    <a:pos x="115" y="31"/>
                  </a:cxn>
                  <a:cxn ang="0">
                    <a:pos x="145" y="6"/>
                  </a:cxn>
                  <a:cxn ang="0">
                    <a:pos x="162" y="0"/>
                  </a:cxn>
                  <a:cxn ang="0">
                    <a:pos x="229" y="26"/>
                  </a:cxn>
                  <a:cxn ang="0">
                    <a:pos x="233" y="32"/>
                  </a:cxn>
                  <a:cxn ang="0">
                    <a:pos x="283" y="34"/>
                  </a:cxn>
                  <a:cxn ang="0">
                    <a:pos x="291" y="98"/>
                  </a:cxn>
                  <a:cxn ang="0">
                    <a:pos x="297" y="106"/>
                  </a:cxn>
                  <a:cxn ang="0">
                    <a:pos x="307" y="110"/>
                  </a:cxn>
                  <a:cxn ang="0">
                    <a:pos x="321" y="108"/>
                  </a:cxn>
                  <a:cxn ang="0">
                    <a:pos x="326" y="124"/>
                  </a:cxn>
                  <a:cxn ang="0">
                    <a:pos x="309" y="172"/>
                  </a:cxn>
                  <a:cxn ang="0">
                    <a:pos x="297" y="167"/>
                  </a:cxn>
                  <a:cxn ang="0">
                    <a:pos x="291" y="170"/>
                  </a:cxn>
                  <a:cxn ang="0">
                    <a:pos x="289" y="172"/>
                  </a:cxn>
                  <a:cxn ang="0">
                    <a:pos x="289" y="178"/>
                  </a:cxn>
                  <a:cxn ang="0">
                    <a:pos x="307" y="200"/>
                  </a:cxn>
                  <a:cxn ang="0">
                    <a:pos x="307" y="200"/>
                  </a:cxn>
                  <a:cxn ang="0">
                    <a:pos x="307" y="200"/>
                  </a:cxn>
                </a:cxnLst>
                <a:rect l="0" t="0" r="r" b="b"/>
                <a:pathLst>
                  <a:path w="326" h="237">
                    <a:moveTo>
                      <a:pt x="307" y="200"/>
                    </a:moveTo>
                    <a:lnTo>
                      <a:pt x="268" y="198"/>
                    </a:lnTo>
                    <a:lnTo>
                      <a:pt x="254" y="237"/>
                    </a:lnTo>
                    <a:lnTo>
                      <a:pt x="215" y="215"/>
                    </a:lnTo>
                    <a:lnTo>
                      <a:pt x="203" y="215"/>
                    </a:lnTo>
                    <a:lnTo>
                      <a:pt x="199" y="215"/>
                    </a:lnTo>
                    <a:lnTo>
                      <a:pt x="197" y="210"/>
                    </a:lnTo>
                    <a:lnTo>
                      <a:pt x="199" y="198"/>
                    </a:lnTo>
                    <a:lnTo>
                      <a:pt x="166" y="204"/>
                    </a:lnTo>
                    <a:lnTo>
                      <a:pt x="166" y="192"/>
                    </a:lnTo>
                    <a:lnTo>
                      <a:pt x="135" y="182"/>
                    </a:lnTo>
                    <a:lnTo>
                      <a:pt x="131" y="184"/>
                    </a:lnTo>
                    <a:lnTo>
                      <a:pt x="123" y="208"/>
                    </a:lnTo>
                    <a:lnTo>
                      <a:pt x="90" y="192"/>
                    </a:lnTo>
                    <a:lnTo>
                      <a:pt x="80" y="157"/>
                    </a:lnTo>
                    <a:lnTo>
                      <a:pt x="88" y="112"/>
                    </a:lnTo>
                    <a:lnTo>
                      <a:pt x="74" y="104"/>
                    </a:lnTo>
                    <a:lnTo>
                      <a:pt x="59" y="81"/>
                    </a:lnTo>
                    <a:lnTo>
                      <a:pt x="4" y="55"/>
                    </a:lnTo>
                    <a:lnTo>
                      <a:pt x="0" y="45"/>
                    </a:lnTo>
                    <a:lnTo>
                      <a:pt x="4" y="26"/>
                    </a:lnTo>
                    <a:lnTo>
                      <a:pt x="8" y="24"/>
                    </a:lnTo>
                    <a:lnTo>
                      <a:pt x="18" y="28"/>
                    </a:lnTo>
                    <a:lnTo>
                      <a:pt x="37" y="43"/>
                    </a:lnTo>
                    <a:lnTo>
                      <a:pt x="115" y="31"/>
                    </a:lnTo>
                    <a:lnTo>
                      <a:pt x="145" y="6"/>
                    </a:lnTo>
                    <a:lnTo>
                      <a:pt x="162" y="0"/>
                    </a:lnTo>
                    <a:lnTo>
                      <a:pt x="229" y="26"/>
                    </a:lnTo>
                    <a:lnTo>
                      <a:pt x="233" y="32"/>
                    </a:lnTo>
                    <a:lnTo>
                      <a:pt x="283" y="34"/>
                    </a:lnTo>
                    <a:lnTo>
                      <a:pt x="291" y="98"/>
                    </a:lnTo>
                    <a:lnTo>
                      <a:pt x="297" y="106"/>
                    </a:lnTo>
                    <a:lnTo>
                      <a:pt x="307" y="110"/>
                    </a:lnTo>
                    <a:lnTo>
                      <a:pt x="321" y="108"/>
                    </a:lnTo>
                    <a:lnTo>
                      <a:pt x="326" y="124"/>
                    </a:lnTo>
                    <a:lnTo>
                      <a:pt x="309" y="172"/>
                    </a:lnTo>
                    <a:lnTo>
                      <a:pt x="297" y="167"/>
                    </a:lnTo>
                    <a:lnTo>
                      <a:pt x="291" y="170"/>
                    </a:lnTo>
                    <a:lnTo>
                      <a:pt x="289" y="172"/>
                    </a:lnTo>
                    <a:lnTo>
                      <a:pt x="289" y="178"/>
                    </a:lnTo>
                    <a:lnTo>
                      <a:pt x="307" y="200"/>
                    </a:lnTo>
                    <a:close/>
                  </a:path>
                </a:pathLst>
              </a:custGeom>
              <a:solidFill>
                <a:srgbClr val="DADAE1"/>
              </a:solidFill>
              <a:ln w="14288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eaLnBrk="0" fontAlgn="auto" hangingPunct="0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e-DE" sz="800" kern="0">
                  <a:solidFill>
                    <a:sysClr val="windowText" lastClr="000000"/>
                  </a:solidFill>
                  <a:latin typeface="DIN-Medium" pitchFamily="34" charset="0"/>
                  <a:cs typeface="+mn-cs"/>
                </a:endParaRPr>
              </a:p>
            </p:txBody>
          </p:sp>
          <p:sp>
            <p:nvSpPr>
              <p:cNvPr id="90" name="Rheinland-Pfalz"/>
              <p:cNvSpPr>
                <a:spLocks/>
              </p:cNvSpPr>
              <p:nvPr/>
            </p:nvSpPr>
            <p:spPr bwMode="auto">
              <a:xfrm>
                <a:off x="504825" y="3783013"/>
                <a:ext cx="977900" cy="1387475"/>
              </a:xfrm>
              <a:custGeom>
                <a:avLst/>
                <a:gdLst/>
                <a:ahLst/>
                <a:cxnLst>
                  <a:cxn ang="0">
                    <a:pos x="66" y="273"/>
                  </a:cxn>
                  <a:cxn ang="0">
                    <a:pos x="62" y="250"/>
                  </a:cxn>
                  <a:cxn ang="0">
                    <a:pos x="82" y="273"/>
                  </a:cxn>
                  <a:cxn ang="0">
                    <a:pos x="129" y="271"/>
                  </a:cxn>
                  <a:cxn ang="0">
                    <a:pos x="168" y="269"/>
                  </a:cxn>
                  <a:cxn ang="0">
                    <a:pos x="158" y="221"/>
                  </a:cxn>
                  <a:cxn ang="0">
                    <a:pos x="207" y="191"/>
                  </a:cxn>
                  <a:cxn ang="0">
                    <a:pos x="357" y="99"/>
                  </a:cxn>
                  <a:cxn ang="0">
                    <a:pos x="412" y="84"/>
                  </a:cxn>
                  <a:cxn ang="0">
                    <a:pos x="420" y="60"/>
                  </a:cxn>
                  <a:cxn ang="0">
                    <a:pos x="449" y="6"/>
                  </a:cxn>
                  <a:cxn ang="0">
                    <a:pos x="478" y="25"/>
                  </a:cxn>
                  <a:cxn ang="0">
                    <a:pos x="482" y="49"/>
                  </a:cxn>
                  <a:cxn ang="0">
                    <a:pos x="514" y="101"/>
                  </a:cxn>
                  <a:cxn ang="0">
                    <a:pos x="541" y="115"/>
                  </a:cxn>
                  <a:cxn ang="0">
                    <a:pos x="543" y="183"/>
                  </a:cxn>
                  <a:cxn ang="0">
                    <a:pos x="537" y="185"/>
                  </a:cxn>
                  <a:cxn ang="0">
                    <a:pos x="525" y="166"/>
                  </a:cxn>
                  <a:cxn ang="0">
                    <a:pos x="496" y="201"/>
                  </a:cxn>
                  <a:cxn ang="0">
                    <a:pos x="504" y="240"/>
                  </a:cxn>
                  <a:cxn ang="0">
                    <a:pos x="523" y="246"/>
                  </a:cxn>
                  <a:cxn ang="0">
                    <a:pos x="544" y="290"/>
                  </a:cxn>
                  <a:cxn ang="0">
                    <a:pos x="515" y="319"/>
                  </a:cxn>
                  <a:cxn ang="0">
                    <a:pos x="473" y="336"/>
                  </a:cxn>
                  <a:cxn ang="0">
                    <a:pos x="473" y="361"/>
                  </a:cxn>
                  <a:cxn ang="0">
                    <a:pos x="457" y="362"/>
                  </a:cxn>
                  <a:cxn ang="0">
                    <a:pos x="455" y="419"/>
                  </a:cxn>
                  <a:cxn ang="0">
                    <a:pos x="547" y="401"/>
                  </a:cxn>
                  <a:cxn ang="0">
                    <a:pos x="581" y="404"/>
                  </a:cxn>
                  <a:cxn ang="0">
                    <a:pos x="625" y="553"/>
                  </a:cxn>
                  <a:cxn ang="0">
                    <a:pos x="629" y="721"/>
                  </a:cxn>
                  <a:cxn ang="0">
                    <a:pos x="506" y="852"/>
                  </a:cxn>
                  <a:cxn ang="0">
                    <a:pos x="426" y="844"/>
                  </a:cxn>
                  <a:cxn ang="0">
                    <a:pos x="375" y="815"/>
                  </a:cxn>
                  <a:cxn ang="0">
                    <a:pos x="318" y="735"/>
                  </a:cxn>
                  <a:cxn ang="0">
                    <a:pos x="351" y="684"/>
                  </a:cxn>
                  <a:cxn ang="0">
                    <a:pos x="326" y="680"/>
                  </a:cxn>
                  <a:cxn ang="0">
                    <a:pos x="313" y="641"/>
                  </a:cxn>
                  <a:cxn ang="0">
                    <a:pos x="299" y="598"/>
                  </a:cxn>
                  <a:cxn ang="0">
                    <a:pos x="287" y="602"/>
                  </a:cxn>
                  <a:cxn ang="0">
                    <a:pos x="258" y="596"/>
                  </a:cxn>
                  <a:cxn ang="0">
                    <a:pos x="188" y="569"/>
                  </a:cxn>
                  <a:cxn ang="0">
                    <a:pos x="155" y="586"/>
                  </a:cxn>
                  <a:cxn ang="0">
                    <a:pos x="131" y="602"/>
                  </a:cxn>
                  <a:cxn ang="0">
                    <a:pos x="62" y="610"/>
                  </a:cxn>
                  <a:cxn ang="0">
                    <a:pos x="28" y="592"/>
                  </a:cxn>
                  <a:cxn ang="0">
                    <a:pos x="68" y="531"/>
                  </a:cxn>
                  <a:cxn ang="0">
                    <a:pos x="54" y="475"/>
                  </a:cxn>
                  <a:cxn ang="0">
                    <a:pos x="0" y="385"/>
                  </a:cxn>
                  <a:cxn ang="0">
                    <a:pos x="54" y="291"/>
                  </a:cxn>
                  <a:cxn ang="0">
                    <a:pos x="54" y="281"/>
                  </a:cxn>
                  <a:cxn ang="0">
                    <a:pos x="66" y="273"/>
                  </a:cxn>
                </a:cxnLst>
                <a:rect l="0" t="0" r="r" b="b"/>
                <a:pathLst>
                  <a:path w="629" h="889">
                    <a:moveTo>
                      <a:pt x="66" y="273"/>
                    </a:moveTo>
                    <a:lnTo>
                      <a:pt x="66" y="273"/>
                    </a:lnTo>
                    <a:lnTo>
                      <a:pt x="60" y="260"/>
                    </a:lnTo>
                    <a:lnTo>
                      <a:pt x="62" y="250"/>
                    </a:lnTo>
                    <a:lnTo>
                      <a:pt x="72" y="246"/>
                    </a:lnTo>
                    <a:lnTo>
                      <a:pt x="82" y="273"/>
                    </a:lnTo>
                    <a:lnTo>
                      <a:pt x="97" y="264"/>
                    </a:lnTo>
                    <a:lnTo>
                      <a:pt x="129" y="271"/>
                    </a:lnTo>
                    <a:lnTo>
                      <a:pt x="140" y="281"/>
                    </a:lnTo>
                    <a:lnTo>
                      <a:pt x="168" y="269"/>
                    </a:lnTo>
                    <a:lnTo>
                      <a:pt x="156" y="242"/>
                    </a:lnTo>
                    <a:lnTo>
                      <a:pt x="158" y="221"/>
                    </a:lnTo>
                    <a:lnTo>
                      <a:pt x="209" y="211"/>
                    </a:lnTo>
                    <a:lnTo>
                      <a:pt x="207" y="191"/>
                    </a:lnTo>
                    <a:lnTo>
                      <a:pt x="328" y="137"/>
                    </a:lnTo>
                    <a:lnTo>
                      <a:pt x="357" y="99"/>
                    </a:lnTo>
                    <a:lnTo>
                      <a:pt x="375" y="101"/>
                    </a:lnTo>
                    <a:lnTo>
                      <a:pt x="412" y="84"/>
                    </a:lnTo>
                    <a:lnTo>
                      <a:pt x="418" y="76"/>
                    </a:lnTo>
                    <a:lnTo>
                      <a:pt x="420" y="60"/>
                    </a:lnTo>
                    <a:lnTo>
                      <a:pt x="445" y="35"/>
                    </a:lnTo>
                    <a:lnTo>
                      <a:pt x="449" y="6"/>
                    </a:lnTo>
                    <a:lnTo>
                      <a:pt x="457" y="0"/>
                    </a:lnTo>
                    <a:lnTo>
                      <a:pt x="478" y="25"/>
                    </a:lnTo>
                    <a:lnTo>
                      <a:pt x="475" y="41"/>
                    </a:lnTo>
                    <a:lnTo>
                      <a:pt x="482" y="49"/>
                    </a:lnTo>
                    <a:lnTo>
                      <a:pt x="494" y="49"/>
                    </a:lnTo>
                    <a:lnTo>
                      <a:pt x="514" y="101"/>
                    </a:lnTo>
                    <a:lnTo>
                      <a:pt x="541" y="113"/>
                    </a:lnTo>
                    <a:lnTo>
                      <a:pt x="541" y="115"/>
                    </a:lnTo>
                    <a:lnTo>
                      <a:pt x="551" y="160"/>
                    </a:lnTo>
                    <a:lnTo>
                      <a:pt x="543" y="183"/>
                    </a:lnTo>
                    <a:lnTo>
                      <a:pt x="541" y="185"/>
                    </a:lnTo>
                    <a:lnTo>
                      <a:pt x="537" y="185"/>
                    </a:lnTo>
                    <a:lnTo>
                      <a:pt x="533" y="183"/>
                    </a:lnTo>
                    <a:lnTo>
                      <a:pt x="525" y="166"/>
                    </a:lnTo>
                    <a:lnTo>
                      <a:pt x="502" y="183"/>
                    </a:lnTo>
                    <a:lnTo>
                      <a:pt x="496" y="201"/>
                    </a:lnTo>
                    <a:lnTo>
                      <a:pt x="502" y="211"/>
                    </a:lnTo>
                    <a:lnTo>
                      <a:pt x="504" y="240"/>
                    </a:lnTo>
                    <a:lnTo>
                      <a:pt x="510" y="244"/>
                    </a:lnTo>
                    <a:lnTo>
                      <a:pt x="523" y="246"/>
                    </a:lnTo>
                    <a:lnTo>
                      <a:pt x="543" y="279"/>
                    </a:lnTo>
                    <a:lnTo>
                      <a:pt x="544" y="290"/>
                    </a:lnTo>
                    <a:lnTo>
                      <a:pt x="529" y="284"/>
                    </a:lnTo>
                    <a:lnTo>
                      <a:pt x="515" y="319"/>
                    </a:lnTo>
                    <a:lnTo>
                      <a:pt x="496" y="305"/>
                    </a:lnTo>
                    <a:lnTo>
                      <a:pt x="473" y="336"/>
                    </a:lnTo>
                    <a:lnTo>
                      <a:pt x="482" y="350"/>
                    </a:lnTo>
                    <a:lnTo>
                      <a:pt x="473" y="361"/>
                    </a:lnTo>
                    <a:lnTo>
                      <a:pt x="465" y="359"/>
                    </a:lnTo>
                    <a:lnTo>
                      <a:pt x="457" y="362"/>
                    </a:lnTo>
                    <a:lnTo>
                      <a:pt x="428" y="385"/>
                    </a:lnTo>
                    <a:lnTo>
                      <a:pt x="455" y="419"/>
                    </a:lnTo>
                    <a:lnTo>
                      <a:pt x="469" y="425"/>
                    </a:lnTo>
                    <a:lnTo>
                      <a:pt x="547" y="401"/>
                    </a:lnTo>
                    <a:lnTo>
                      <a:pt x="572" y="396"/>
                    </a:lnTo>
                    <a:lnTo>
                      <a:pt x="581" y="404"/>
                    </a:lnTo>
                    <a:lnTo>
                      <a:pt x="629" y="545"/>
                    </a:lnTo>
                    <a:lnTo>
                      <a:pt x="625" y="553"/>
                    </a:lnTo>
                    <a:lnTo>
                      <a:pt x="605" y="560"/>
                    </a:lnTo>
                    <a:lnTo>
                      <a:pt x="629" y="721"/>
                    </a:lnTo>
                    <a:lnTo>
                      <a:pt x="554" y="889"/>
                    </a:lnTo>
                    <a:lnTo>
                      <a:pt x="506" y="852"/>
                    </a:lnTo>
                    <a:lnTo>
                      <a:pt x="469" y="840"/>
                    </a:lnTo>
                    <a:lnTo>
                      <a:pt x="426" y="844"/>
                    </a:lnTo>
                    <a:lnTo>
                      <a:pt x="418" y="821"/>
                    </a:lnTo>
                    <a:lnTo>
                      <a:pt x="375" y="815"/>
                    </a:lnTo>
                    <a:lnTo>
                      <a:pt x="314" y="748"/>
                    </a:lnTo>
                    <a:lnTo>
                      <a:pt x="318" y="735"/>
                    </a:lnTo>
                    <a:lnTo>
                      <a:pt x="334" y="740"/>
                    </a:lnTo>
                    <a:lnTo>
                      <a:pt x="351" y="684"/>
                    </a:lnTo>
                    <a:lnTo>
                      <a:pt x="347" y="676"/>
                    </a:lnTo>
                    <a:lnTo>
                      <a:pt x="326" y="680"/>
                    </a:lnTo>
                    <a:lnTo>
                      <a:pt x="316" y="668"/>
                    </a:lnTo>
                    <a:lnTo>
                      <a:pt x="313" y="641"/>
                    </a:lnTo>
                    <a:lnTo>
                      <a:pt x="308" y="606"/>
                    </a:lnTo>
                    <a:lnTo>
                      <a:pt x="299" y="598"/>
                    </a:lnTo>
                    <a:lnTo>
                      <a:pt x="293" y="598"/>
                    </a:lnTo>
                    <a:lnTo>
                      <a:pt x="287" y="602"/>
                    </a:lnTo>
                    <a:lnTo>
                      <a:pt x="258" y="602"/>
                    </a:lnTo>
                    <a:lnTo>
                      <a:pt x="258" y="596"/>
                    </a:lnTo>
                    <a:lnTo>
                      <a:pt x="254" y="592"/>
                    </a:lnTo>
                    <a:lnTo>
                      <a:pt x="188" y="569"/>
                    </a:lnTo>
                    <a:lnTo>
                      <a:pt x="169" y="574"/>
                    </a:lnTo>
                    <a:lnTo>
                      <a:pt x="155" y="586"/>
                    </a:lnTo>
                    <a:lnTo>
                      <a:pt x="142" y="598"/>
                    </a:lnTo>
                    <a:lnTo>
                      <a:pt x="131" y="602"/>
                    </a:lnTo>
                    <a:lnTo>
                      <a:pt x="110" y="604"/>
                    </a:lnTo>
                    <a:lnTo>
                      <a:pt x="62" y="610"/>
                    </a:lnTo>
                    <a:lnTo>
                      <a:pt x="44" y="595"/>
                    </a:lnTo>
                    <a:lnTo>
                      <a:pt x="28" y="592"/>
                    </a:lnTo>
                    <a:lnTo>
                      <a:pt x="43" y="547"/>
                    </a:lnTo>
                    <a:lnTo>
                      <a:pt x="68" y="531"/>
                    </a:lnTo>
                    <a:lnTo>
                      <a:pt x="72" y="498"/>
                    </a:lnTo>
                    <a:lnTo>
                      <a:pt x="54" y="475"/>
                    </a:lnTo>
                    <a:lnTo>
                      <a:pt x="33" y="473"/>
                    </a:lnTo>
                    <a:lnTo>
                      <a:pt x="0" y="385"/>
                    </a:lnTo>
                    <a:lnTo>
                      <a:pt x="23" y="307"/>
                    </a:lnTo>
                    <a:lnTo>
                      <a:pt x="54" y="291"/>
                    </a:lnTo>
                    <a:lnTo>
                      <a:pt x="52" y="285"/>
                    </a:lnTo>
                    <a:lnTo>
                      <a:pt x="54" y="281"/>
                    </a:lnTo>
                    <a:lnTo>
                      <a:pt x="58" y="275"/>
                    </a:lnTo>
                    <a:lnTo>
                      <a:pt x="66" y="273"/>
                    </a:lnTo>
                    <a:close/>
                  </a:path>
                </a:pathLst>
              </a:custGeom>
              <a:solidFill>
                <a:srgbClr val="DADAE1"/>
              </a:solidFill>
              <a:ln w="14288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eaLnBrk="0" fontAlgn="auto" hangingPunct="0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e-DE" sz="800" kern="0">
                  <a:solidFill>
                    <a:sysClr val="windowText" lastClr="000000"/>
                  </a:solidFill>
                  <a:latin typeface="DIN-Medium" pitchFamily="34" charset="0"/>
                  <a:cs typeface="+mn-cs"/>
                </a:endParaRPr>
              </a:p>
            </p:txBody>
          </p:sp>
          <p:sp>
            <p:nvSpPr>
              <p:cNvPr id="91" name="Nordrhein-Westfalen"/>
              <p:cNvSpPr>
                <a:spLocks/>
              </p:cNvSpPr>
              <p:nvPr/>
            </p:nvSpPr>
            <p:spPr bwMode="auto">
              <a:xfrm>
                <a:off x="412750" y="2719388"/>
                <a:ext cx="1471613" cy="1501775"/>
              </a:xfrm>
              <a:custGeom>
                <a:avLst/>
                <a:gdLst/>
                <a:ahLst/>
                <a:cxnLst>
                  <a:cxn ang="0">
                    <a:pos x="397" y="119"/>
                  </a:cxn>
                  <a:cxn ang="0">
                    <a:pos x="477" y="35"/>
                  </a:cxn>
                  <a:cxn ang="0">
                    <a:pos x="514" y="14"/>
                  </a:cxn>
                  <a:cxn ang="0">
                    <a:pos x="594" y="65"/>
                  </a:cxn>
                  <a:cxn ang="0">
                    <a:pos x="569" y="129"/>
                  </a:cxn>
                  <a:cxn ang="0">
                    <a:pos x="604" y="160"/>
                  </a:cxn>
                  <a:cxn ang="0">
                    <a:pos x="561" y="176"/>
                  </a:cxn>
                  <a:cxn ang="0">
                    <a:pos x="668" y="174"/>
                  </a:cxn>
                  <a:cxn ang="0">
                    <a:pos x="723" y="148"/>
                  </a:cxn>
                  <a:cxn ang="0">
                    <a:pos x="670" y="58"/>
                  </a:cxn>
                  <a:cxn ang="0">
                    <a:pos x="688" y="39"/>
                  </a:cxn>
                  <a:cxn ang="0">
                    <a:pos x="765" y="12"/>
                  </a:cxn>
                  <a:cxn ang="0">
                    <a:pos x="829" y="51"/>
                  </a:cxn>
                  <a:cxn ang="0">
                    <a:pos x="895" y="17"/>
                  </a:cxn>
                  <a:cxn ang="0">
                    <a:pos x="891" y="68"/>
                  </a:cxn>
                  <a:cxn ang="0">
                    <a:pos x="854" y="144"/>
                  </a:cxn>
                  <a:cxn ang="0">
                    <a:pos x="887" y="178"/>
                  </a:cxn>
                  <a:cxn ang="0">
                    <a:pos x="899" y="219"/>
                  </a:cxn>
                  <a:cxn ang="0">
                    <a:pos x="921" y="279"/>
                  </a:cxn>
                  <a:cxn ang="0">
                    <a:pos x="946" y="330"/>
                  </a:cxn>
                  <a:cxn ang="0">
                    <a:pos x="921" y="439"/>
                  </a:cxn>
                  <a:cxn ang="0">
                    <a:pos x="872" y="498"/>
                  </a:cxn>
                  <a:cxn ang="0">
                    <a:pos x="842" y="473"/>
                  </a:cxn>
                  <a:cxn ang="0">
                    <a:pos x="821" y="504"/>
                  </a:cxn>
                  <a:cxn ang="0">
                    <a:pos x="754" y="527"/>
                  </a:cxn>
                  <a:cxn ang="0">
                    <a:pos x="768" y="564"/>
                  </a:cxn>
                  <a:cxn ang="0">
                    <a:pos x="774" y="594"/>
                  </a:cxn>
                  <a:cxn ang="0">
                    <a:pos x="706" y="627"/>
                  </a:cxn>
                  <a:cxn ang="0">
                    <a:pos x="688" y="668"/>
                  </a:cxn>
                  <a:cxn ang="0">
                    <a:pos x="649" y="719"/>
                  </a:cxn>
                  <a:cxn ang="0">
                    <a:pos x="610" y="780"/>
                  </a:cxn>
                  <a:cxn ang="0">
                    <a:pos x="574" y="786"/>
                  </a:cxn>
                  <a:cxn ang="0">
                    <a:pos x="545" y="731"/>
                  </a:cxn>
                  <a:cxn ang="0">
                    <a:pos x="537" y="711"/>
                  </a:cxn>
                  <a:cxn ang="0">
                    <a:pos x="507" y="690"/>
                  </a:cxn>
                  <a:cxn ang="0">
                    <a:pos x="477" y="758"/>
                  </a:cxn>
                  <a:cxn ang="0">
                    <a:pos x="422" y="776"/>
                  </a:cxn>
                  <a:cxn ang="0">
                    <a:pos x="276" y="869"/>
                  </a:cxn>
                  <a:cxn ang="0">
                    <a:pos x="250" y="897"/>
                  </a:cxn>
                  <a:cxn ang="0">
                    <a:pos x="231" y="953"/>
                  </a:cxn>
                  <a:cxn ang="0">
                    <a:pos x="202" y="963"/>
                  </a:cxn>
                  <a:cxn ang="0">
                    <a:pos x="133" y="928"/>
                  </a:cxn>
                  <a:cxn ang="0">
                    <a:pos x="130" y="957"/>
                  </a:cxn>
                  <a:cxn ang="0">
                    <a:pos x="70" y="854"/>
                  </a:cxn>
                  <a:cxn ang="0">
                    <a:pos x="29" y="764"/>
                  </a:cxn>
                  <a:cxn ang="0">
                    <a:pos x="49" y="736"/>
                  </a:cxn>
                  <a:cxn ang="0">
                    <a:pos x="14" y="686"/>
                  </a:cxn>
                  <a:cxn ang="0">
                    <a:pos x="2" y="660"/>
                  </a:cxn>
                  <a:cxn ang="0">
                    <a:pos x="115" y="453"/>
                  </a:cxn>
                  <a:cxn ang="0">
                    <a:pos x="82" y="332"/>
                  </a:cxn>
                  <a:cxn ang="0">
                    <a:pos x="113" y="297"/>
                  </a:cxn>
                  <a:cxn ang="0">
                    <a:pos x="158" y="322"/>
                  </a:cxn>
                  <a:cxn ang="0">
                    <a:pos x="258" y="289"/>
                  </a:cxn>
                  <a:cxn ang="0">
                    <a:pos x="281" y="199"/>
                  </a:cxn>
                  <a:cxn ang="0">
                    <a:pos x="356" y="119"/>
                  </a:cxn>
                </a:cxnLst>
                <a:rect l="0" t="0" r="r" b="b"/>
                <a:pathLst>
                  <a:path w="946" h="963">
                    <a:moveTo>
                      <a:pt x="356" y="119"/>
                    </a:moveTo>
                    <a:lnTo>
                      <a:pt x="356" y="119"/>
                    </a:lnTo>
                    <a:lnTo>
                      <a:pt x="397" y="119"/>
                    </a:lnTo>
                    <a:lnTo>
                      <a:pt x="460" y="75"/>
                    </a:lnTo>
                    <a:lnTo>
                      <a:pt x="453" y="66"/>
                    </a:lnTo>
                    <a:lnTo>
                      <a:pt x="477" y="35"/>
                    </a:lnTo>
                    <a:lnTo>
                      <a:pt x="459" y="27"/>
                    </a:lnTo>
                    <a:lnTo>
                      <a:pt x="481" y="0"/>
                    </a:lnTo>
                    <a:lnTo>
                      <a:pt x="514" y="14"/>
                    </a:lnTo>
                    <a:lnTo>
                      <a:pt x="516" y="33"/>
                    </a:lnTo>
                    <a:lnTo>
                      <a:pt x="571" y="49"/>
                    </a:lnTo>
                    <a:lnTo>
                      <a:pt x="594" y="65"/>
                    </a:lnTo>
                    <a:lnTo>
                      <a:pt x="586" y="86"/>
                    </a:lnTo>
                    <a:lnTo>
                      <a:pt x="565" y="119"/>
                    </a:lnTo>
                    <a:lnTo>
                      <a:pt x="569" y="129"/>
                    </a:lnTo>
                    <a:lnTo>
                      <a:pt x="583" y="131"/>
                    </a:lnTo>
                    <a:lnTo>
                      <a:pt x="597" y="128"/>
                    </a:lnTo>
                    <a:lnTo>
                      <a:pt x="604" y="160"/>
                    </a:lnTo>
                    <a:lnTo>
                      <a:pt x="591" y="159"/>
                    </a:lnTo>
                    <a:lnTo>
                      <a:pt x="585" y="171"/>
                    </a:lnTo>
                    <a:lnTo>
                      <a:pt x="561" y="176"/>
                    </a:lnTo>
                    <a:lnTo>
                      <a:pt x="551" y="187"/>
                    </a:lnTo>
                    <a:lnTo>
                      <a:pt x="553" y="205"/>
                    </a:lnTo>
                    <a:lnTo>
                      <a:pt x="668" y="174"/>
                    </a:lnTo>
                    <a:lnTo>
                      <a:pt x="697" y="176"/>
                    </a:lnTo>
                    <a:lnTo>
                      <a:pt x="721" y="160"/>
                    </a:lnTo>
                    <a:lnTo>
                      <a:pt x="723" y="148"/>
                    </a:lnTo>
                    <a:lnTo>
                      <a:pt x="706" y="143"/>
                    </a:lnTo>
                    <a:lnTo>
                      <a:pt x="700" y="78"/>
                    </a:lnTo>
                    <a:lnTo>
                      <a:pt x="670" y="58"/>
                    </a:lnTo>
                    <a:lnTo>
                      <a:pt x="663" y="56"/>
                    </a:lnTo>
                    <a:lnTo>
                      <a:pt x="668" y="35"/>
                    </a:lnTo>
                    <a:lnTo>
                      <a:pt x="688" y="39"/>
                    </a:lnTo>
                    <a:lnTo>
                      <a:pt x="720" y="12"/>
                    </a:lnTo>
                    <a:lnTo>
                      <a:pt x="754" y="6"/>
                    </a:lnTo>
                    <a:lnTo>
                      <a:pt x="765" y="12"/>
                    </a:lnTo>
                    <a:lnTo>
                      <a:pt x="765" y="47"/>
                    </a:lnTo>
                    <a:lnTo>
                      <a:pt x="775" y="57"/>
                    </a:lnTo>
                    <a:lnTo>
                      <a:pt x="829" y="51"/>
                    </a:lnTo>
                    <a:lnTo>
                      <a:pt x="864" y="13"/>
                    </a:lnTo>
                    <a:lnTo>
                      <a:pt x="874" y="5"/>
                    </a:lnTo>
                    <a:lnTo>
                      <a:pt x="895" y="17"/>
                    </a:lnTo>
                    <a:lnTo>
                      <a:pt x="891" y="38"/>
                    </a:lnTo>
                    <a:lnTo>
                      <a:pt x="900" y="48"/>
                    </a:lnTo>
                    <a:lnTo>
                      <a:pt x="891" y="68"/>
                    </a:lnTo>
                    <a:lnTo>
                      <a:pt x="889" y="86"/>
                    </a:lnTo>
                    <a:lnTo>
                      <a:pt x="867" y="95"/>
                    </a:lnTo>
                    <a:lnTo>
                      <a:pt x="854" y="144"/>
                    </a:lnTo>
                    <a:lnTo>
                      <a:pt x="883" y="150"/>
                    </a:lnTo>
                    <a:lnTo>
                      <a:pt x="887" y="156"/>
                    </a:lnTo>
                    <a:lnTo>
                      <a:pt x="887" y="178"/>
                    </a:lnTo>
                    <a:lnTo>
                      <a:pt x="862" y="172"/>
                    </a:lnTo>
                    <a:lnTo>
                      <a:pt x="867" y="203"/>
                    </a:lnTo>
                    <a:lnTo>
                      <a:pt x="899" y="219"/>
                    </a:lnTo>
                    <a:lnTo>
                      <a:pt x="909" y="224"/>
                    </a:lnTo>
                    <a:lnTo>
                      <a:pt x="905" y="279"/>
                    </a:lnTo>
                    <a:lnTo>
                      <a:pt x="921" y="279"/>
                    </a:lnTo>
                    <a:lnTo>
                      <a:pt x="932" y="289"/>
                    </a:lnTo>
                    <a:lnTo>
                      <a:pt x="930" y="322"/>
                    </a:lnTo>
                    <a:lnTo>
                      <a:pt x="946" y="330"/>
                    </a:lnTo>
                    <a:lnTo>
                      <a:pt x="937" y="411"/>
                    </a:lnTo>
                    <a:lnTo>
                      <a:pt x="917" y="428"/>
                    </a:lnTo>
                    <a:lnTo>
                      <a:pt x="921" y="439"/>
                    </a:lnTo>
                    <a:lnTo>
                      <a:pt x="919" y="457"/>
                    </a:lnTo>
                    <a:lnTo>
                      <a:pt x="887" y="496"/>
                    </a:lnTo>
                    <a:lnTo>
                      <a:pt x="872" y="498"/>
                    </a:lnTo>
                    <a:lnTo>
                      <a:pt x="862" y="494"/>
                    </a:lnTo>
                    <a:lnTo>
                      <a:pt x="860" y="480"/>
                    </a:lnTo>
                    <a:lnTo>
                      <a:pt x="842" y="473"/>
                    </a:lnTo>
                    <a:lnTo>
                      <a:pt x="817" y="477"/>
                    </a:lnTo>
                    <a:lnTo>
                      <a:pt x="813" y="488"/>
                    </a:lnTo>
                    <a:lnTo>
                      <a:pt x="821" y="504"/>
                    </a:lnTo>
                    <a:lnTo>
                      <a:pt x="815" y="516"/>
                    </a:lnTo>
                    <a:lnTo>
                      <a:pt x="805" y="527"/>
                    </a:lnTo>
                    <a:lnTo>
                      <a:pt x="754" y="527"/>
                    </a:lnTo>
                    <a:lnTo>
                      <a:pt x="727" y="559"/>
                    </a:lnTo>
                    <a:lnTo>
                      <a:pt x="737" y="574"/>
                    </a:lnTo>
                    <a:lnTo>
                      <a:pt x="768" y="564"/>
                    </a:lnTo>
                    <a:lnTo>
                      <a:pt x="777" y="566"/>
                    </a:lnTo>
                    <a:lnTo>
                      <a:pt x="776" y="574"/>
                    </a:lnTo>
                    <a:lnTo>
                      <a:pt x="774" y="594"/>
                    </a:lnTo>
                    <a:lnTo>
                      <a:pt x="760" y="617"/>
                    </a:lnTo>
                    <a:lnTo>
                      <a:pt x="762" y="625"/>
                    </a:lnTo>
                    <a:lnTo>
                      <a:pt x="706" y="627"/>
                    </a:lnTo>
                    <a:lnTo>
                      <a:pt x="697" y="644"/>
                    </a:lnTo>
                    <a:lnTo>
                      <a:pt x="705" y="653"/>
                    </a:lnTo>
                    <a:lnTo>
                      <a:pt x="688" y="668"/>
                    </a:lnTo>
                    <a:lnTo>
                      <a:pt x="673" y="711"/>
                    </a:lnTo>
                    <a:lnTo>
                      <a:pt x="661" y="725"/>
                    </a:lnTo>
                    <a:lnTo>
                      <a:pt x="649" y="719"/>
                    </a:lnTo>
                    <a:lnTo>
                      <a:pt x="633" y="732"/>
                    </a:lnTo>
                    <a:lnTo>
                      <a:pt x="609" y="747"/>
                    </a:lnTo>
                    <a:lnTo>
                      <a:pt x="610" y="780"/>
                    </a:lnTo>
                    <a:lnTo>
                      <a:pt x="600" y="797"/>
                    </a:lnTo>
                    <a:lnTo>
                      <a:pt x="592" y="797"/>
                    </a:lnTo>
                    <a:lnTo>
                      <a:pt x="574" y="786"/>
                    </a:lnTo>
                    <a:lnTo>
                      <a:pt x="564" y="756"/>
                    </a:lnTo>
                    <a:lnTo>
                      <a:pt x="553" y="731"/>
                    </a:lnTo>
                    <a:lnTo>
                      <a:pt x="545" y="731"/>
                    </a:lnTo>
                    <a:lnTo>
                      <a:pt x="537" y="725"/>
                    </a:lnTo>
                    <a:lnTo>
                      <a:pt x="534" y="723"/>
                    </a:lnTo>
                    <a:lnTo>
                      <a:pt x="537" y="711"/>
                    </a:lnTo>
                    <a:lnTo>
                      <a:pt x="532" y="697"/>
                    </a:lnTo>
                    <a:lnTo>
                      <a:pt x="516" y="684"/>
                    </a:lnTo>
                    <a:lnTo>
                      <a:pt x="507" y="690"/>
                    </a:lnTo>
                    <a:lnTo>
                      <a:pt x="502" y="725"/>
                    </a:lnTo>
                    <a:lnTo>
                      <a:pt x="477" y="740"/>
                    </a:lnTo>
                    <a:lnTo>
                      <a:pt x="477" y="758"/>
                    </a:lnTo>
                    <a:lnTo>
                      <a:pt x="473" y="766"/>
                    </a:lnTo>
                    <a:lnTo>
                      <a:pt x="436" y="785"/>
                    </a:lnTo>
                    <a:lnTo>
                      <a:pt x="422" y="776"/>
                    </a:lnTo>
                    <a:lnTo>
                      <a:pt x="412" y="785"/>
                    </a:lnTo>
                    <a:lnTo>
                      <a:pt x="387" y="816"/>
                    </a:lnTo>
                    <a:lnTo>
                      <a:pt x="276" y="869"/>
                    </a:lnTo>
                    <a:lnTo>
                      <a:pt x="266" y="883"/>
                    </a:lnTo>
                    <a:lnTo>
                      <a:pt x="268" y="893"/>
                    </a:lnTo>
                    <a:lnTo>
                      <a:pt x="250" y="897"/>
                    </a:lnTo>
                    <a:lnTo>
                      <a:pt x="235" y="902"/>
                    </a:lnTo>
                    <a:lnTo>
                      <a:pt x="215" y="910"/>
                    </a:lnTo>
                    <a:lnTo>
                      <a:pt x="231" y="953"/>
                    </a:lnTo>
                    <a:lnTo>
                      <a:pt x="219" y="955"/>
                    </a:lnTo>
                    <a:lnTo>
                      <a:pt x="217" y="957"/>
                    </a:lnTo>
                    <a:lnTo>
                      <a:pt x="202" y="963"/>
                    </a:lnTo>
                    <a:lnTo>
                      <a:pt x="162" y="946"/>
                    </a:lnTo>
                    <a:lnTo>
                      <a:pt x="141" y="955"/>
                    </a:lnTo>
                    <a:lnTo>
                      <a:pt x="133" y="928"/>
                    </a:lnTo>
                    <a:lnTo>
                      <a:pt x="123" y="934"/>
                    </a:lnTo>
                    <a:lnTo>
                      <a:pt x="121" y="940"/>
                    </a:lnTo>
                    <a:lnTo>
                      <a:pt x="130" y="957"/>
                    </a:lnTo>
                    <a:lnTo>
                      <a:pt x="115" y="961"/>
                    </a:lnTo>
                    <a:lnTo>
                      <a:pt x="111" y="963"/>
                    </a:lnTo>
                    <a:lnTo>
                      <a:pt x="70" y="854"/>
                    </a:lnTo>
                    <a:lnTo>
                      <a:pt x="84" y="830"/>
                    </a:lnTo>
                    <a:lnTo>
                      <a:pt x="39" y="795"/>
                    </a:lnTo>
                    <a:lnTo>
                      <a:pt x="29" y="764"/>
                    </a:lnTo>
                    <a:lnTo>
                      <a:pt x="35" y="748"/>
                    </a:lnTo>
                    <a:lnTo>
                      <a:pt x="41" y="746"/>
                    </a:lnTo>
                    <a:lnTo>
                      <a:pt x="49" y="736"/>
                    </a:lnTo>
                    <a:lnTo>
                      <a:pt x="51" y="725"/>
                    </a:lnTo>
                    <a:lnTo>
                      <a:pt x="25" y="686"/>
                    </a:lnTo>
                    <a:lnTo>
                      <a:pt x="14" y="686"/>
                    </a:lnTo>
                    <a:lnTo>
                      <a:pt x="4" y="684"/>
                    </a:lnTo>
                    <a:lnTo>
                      <a:pt x="0" y="672"/>
                    </a:lnTo>
                    <a:lnTo>
                      <a:pt x="2" y="660"/>
                    </a:lnTo>
                    <a:lnTo>
                      <a:pt x="94" y="606"/>
                    </a:lnTo>
                    <a:lnTo>
                      <a:pt x="82" y="586"/>
                    </a:lnTo>
                    <a:lnTo>
                      <a:pt x="115" y="453"/>
                    </a:lnTo>
                    <a:lnTo>
                      <a:pt x="53" y="332"/>
                    </a:lnTo>
                    <a:lnTo>
                      <a:pt x="55" y="324"/>
                    </a:lnTo>
                    <a:lnTo>
                      <a:pt x="82" y="332"/>
                    </a:lnTo>
                    <a:lnTo>
                      <a:pt x="107" y="320"/>
                    </a:lnTo>
                    <a:lnTo>
                      <a:pt x="109" y="301"/>
                    </a:lnTo>
                    <a:lnTo>
                      <a:pt x="113" y="297"/>
                    </a:lnTo>
                    <a:lnTo>
                      <a:pt x="123" y="299"/>
                    </a:lnTo>
                    <a:lnTo>
                      <a:pt x="150" y="320"/>
                    </a:lnTo>
                    <a:lnTo>
                      <a:pt x="158" y="322"/>
                    </a:lnTo>
                    <a:lnTo>
                      <a:pt x="162" y="320"/>
                    </a:lnTo>
                    <a:lnTo>
                      <a:pt x="172" y="303"/>
                    </a:lnTo>
                    <a:lnTo>
                      <a:pt x="258" y="289"/>
                    </a:lnTo>
                    <a:lnTo>
                      <a:pt x="287" y="254"/>
                    </a:lnTo>
                    <a:lnTo>
                      <a:pt x="276" y="221"/>
                    </a:lnTo>
                    <a:lnTo>
                      <a:pt x="281" y="199"/>
                    </a:lnTo>
                    <a:lnTo>
                      <a:pt x="301" y="185"/>
                    </a:lnTo>
                    <a:lnTo>
                      <a:pt x="311" y="158"/>
                    </a:lnTo>
                    <a:lnTo>
                      <a:pt x="356" y="119"/>
                    </a:lnTo>
                    <a:close/>
                  </a:path>
                </a:pathLst>
              </a:custGeom>
              <a:solidFill>
                <a:srgbClr val="DADAE1"/>
              </a:solidFill>
              <a:ln w="14288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eaLnBrk="0" fontAlgn="auto" hangingPunct="0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e-DE" sz="800" kern="0" dirty="0">
                  <a:solidFill>
                    <a:sysClr val="windowText" lastClr="000000"/>
                  </a:solidFill>
                  <a:latin typeface="DIN-Medium" pitchFamily="34" charset="0"/>
                  <a:cs typeface="+mn-cs"/>
                </a:endParaRPr>
              </a:p>
            </p:txBody>
          </p:sp>
          <p:sp>
            <p:nvSpPr>
              <p:cNvPr id="92" name="Mecklenburg-Vorpommern"/>
              <p:cNvSpPr>
                <a:spLocks/>
              </p:cNvSpPr>
              <p:nvPr/>
            </p:nvSpPr>
            <p:spPr bwMode="auto">
              <a:xfrm>
                <a:off x="2401888" y="1474788"/>
                <a:ext cx="1524000" cy="963612"/>
              </a:xfrm>
              <a:custGeom>
                <a:avLst/>
                <a:gdLst/>
                <a:ahLst/>
                <a:cxnLst>
                  <a:cxn ang="0">
                    <a:pos x="65" y="227"/>
                  </a:cxn>
                  <a:cxn ang="0">
                    <a:pos x="73" y="354"/>
                  </a:cxn>
                  <a:cxn ang="0">
                    <a:pos x="47" y="385"/>
                  </a:cxn>
                  <a:cxn ang="0">
                    <a:pos x="10" y="440"/>
                  </a:cxn>
                  <a:cxn ang="0">
                    <a:pos x="100" y="561"/>
                  </a:cxn>
                  <a:cxn ang="0">
                    <a:pos x="178" y="600"/>
                  </a:cxn>
                  <a:cxn ang="0">
                    <a:pos x="274" y="618"/>
                  </a:cxn>
                  <a:cxn ang="0">
                    <a:pos x="280" y="604"/>
                  </a:cxn>
                  <a:cxn ang="0">
                    <a:pos x="260" y="579"/>
                  </a:cxn>
                  <a:cxn ang="0">
                    <a:pos x="250" y="555"/>
                  </a:cxn>
                  <a:cxn ang="0">
                    <a:pos x="282" y="530"/>
                  </a:cxn>
                  <a:cxn ang="0">
                    <a:pos x="311" y="510"/>
                  </a:cxn>
                  <a:cxn ang="0">
                    <a:pos x="317" y="510"/>
                  </a:cxn>
                  <a:cxn ang="0">
                    <a:pos x="372" y="501"/>
                  </a:cxn>
                  <a:cxn ang="0">
                    <a:pos x="381" y="479"/>
                  </a:cxn>
                  <a:cxn ang="0">
                    <a:pos x="583" y="548"/>
                  </a:cxn>
                  <a:cxn ang="0">
                    <a:pos x="618" y="563"/>
                  </a:cxn>
                  <a:cxn ang="0">
                    <a:pos x="655" y="530"/>
                  </a:cxn>
                  <a:cxn ang="0">
                    <a:pos x="686" y="530"/>
                  </a:cxn>
                  <a:cxn ang="0">
                    <a:pos x="718" y="512"/>
                  </a:cxn>
                  <a:cxn ang="0">
                    <a:pos x="735" y="510"/>
                  </a:cxn>
                  <a:cxn ang="0">
                    <a:pos x="755" y="499"/>
                  </a:cxn>
                  <a:cxn ang="0">
                    <a:pos x="784" y="446"/>
                  </a:cxn>
                  <a:cxn ang="0">
                    <a:pos x="862" y="430"/>
                  </a:cxn>
                  <a:cxn ang="0">
                    <a:pos x="880" y="421"/>
                  </a:cxn>
                  <a:cxn ang="0">
                    <a:pos x="925" y="497"/>
                  </a:cxn>
                  <a:cxn ang="0">
                    <a:pos x="970" y="464"/>
                  </a:cxn>
                  <a:cxn ang="0">
                    <a:pos x="927" y="295"/>
                  </a:cxn>
                  <a:cxn ang="0">
                    <a:pos x="913" y="290"/>
                  </a:cxn>
                  <a:cxn ang="0">
                    <a:pos x="841" y="274"/>
                  </a:cxn>
                  <a:cxn ang="0">
                    <a:pos x="819" y="239"/>
                  </a:cxn>
                  <a:cxn ang="0">
                    <a:pos x="837" y="213"/>
                  </a:cxn>
                  <a:cxn ang="0">
                    <a:pos x="798" y="131"/>
                  </a:cxn>
                  <a:cxn ang="0">
                    <a:pos x="727" y="139"/>
                  </a:cxn>
                  <a:cxn ang="0">
                    <a:pos x="604" y="28"/>
                  </a:cxn>
                  <a:cxn ang="0">
                    <a:pos x="573" y="6"/>
                  </a:cxn>
                  <a:cxn ang="0">
                    <a:pos x="487" y="32"/>
                  </a:cxn>
                  <a:cxn ang="0">
                    <a:pos x="456" y="63"/>
                  </a:cxn>
                  <a:cxn ang="0">
                    <a:pos x="448" y="57"/>
                  </a:cxn>
                  <a:cxn ang="0">
                    <a:pos x="546" y="12"/>
                  </a:cxn>
                  <a:cxn ang="0">
                    <a:pos x="549" y="0"/>
                  </a:cxn>
                  <a:cxn ang="0">
                    <a:pos x="454" y="8"/>
                  </a:cxn>
                  <a:cxn ang="0">
                    <a:pos x="227" y="168"/>
                  </a:cxn>
                  <a:cxn ang="0">
                    <a:pos x="229" y="227"/>
                  </a:cxn>
                  <a:cxn ang="0">
                    <a:pos x="209" y="252"/>
                  </a:cxn>
                  <a:cxn ang="0">
                    <a:pos x="116" y="200"/>
                  </a:cxn>
                  <a:cxn ang="0">
                    <a:pos x="65" y="227"/>
                  </a:cxn>
                </a:cxnLst>
                <a:rect l="0" t="0" r="r" b="b"/>
                <a:pathLst>
                  <a:path w="979" h="618">
                    <a:moveTo>
                      <a:pt x="65" y="227"/>
                    </a:moveTo>
                    <a:lnTo>
                      <a:pt x="65" y="227"/>
                    </a:lnTo>
                    <a:lnTo>
                      <a:pt x="35" y="303"/>
                    </a:lnTo>
                    <a:lnTo>
                      <a:pt x="73" y="354"/>
                    </a:lnTo>
                    <a:lnTo>
                      <a:pt x="69" y="370"/>
                    </a:lnTo>
                    <a:lnTo>
                      <a:pt x="47" y="385"/>
                    </a:lnTo>
                    <a:lnTo>
                      <a:pt x="43" y="413"/>
                    </a:lnTo>
                    <a:lnTo>
                      <a:pt x="10" y="440"/>
                    </a:lnTo>
                    <a:lnTo>
                      <a:pt x="0" y="477"/>
                    </a:lnTo>
                    <a:lnTo>
                      <a:pt x="100" y="561"/>
                    </a:lnTo>
                    <a:lnTo>
                      <a:pt x="141" y="563"/>
                    </a:lnTo>
                    <a:lnTo>
                      <a:pt x="178" y="600"/>
                    </a:lnTo>
                    <a:lnTo>
                      <a:pt x="207" y="594"/>
                    </a:lnTo>
                    <a:lnTo>
                      <a:pt x="274" y="618"/>
                    </a:lnTo>
                    <a:lnTo>
                      <a:pt x="280" y="612"/>
                    </a:lnTo>
                    <a:lnTo>
                      <a:pt x="280" y="604"/>
                    </a:lnTo>
                    <a:lnTo>
                      <a:pt x="272" y="587"/>
                    </a:lnTo>
                    <a:lnTo>
                      <a:pt x="260" y="579"/>
                    </a:lnTo>
                    <a:lnTo>
                      <a:pt x="256" y="579"/>
                    </a:lnTo>
                    <a:lnTo>
                      <a:pt x="250" y="555"/>
                    </a:lnTo>
                    <a:lnTo>
                      <a:pt x="260" y="538"/>
                    </a:lnTo>
                    <a:lnTo>
                      <a:pt x="282" y="530"/>
                    </a:lnTo>
                    <a:lnTo>
                      <a:pt x="288" y="530"/>
                    </a:lnTo>
                    <a:lnTo>
                      <a:pt x="311" y="510"/>
                    </a:lnTo>
                    <a:lnTo>
                      <a:pt x="315" y="510"/>
                    </a:lnTo>
                    <a:lnTo>
                      <a:pt x="317" y="510"/>
                    </a:lnTo>
                    <a:lnTo>
                      <a:pt x="317" y="518"/>
                    </a:lnTo>
                    <a:lnTo>
                      <a:pt x="372" y="501"/>
                    </a:lnTo>
                    <a:lnTo>
                      <a:pt x="372" y="489"/>
                    </a:lnTo>
                    <a:lnTo>
                      <a:pt x="381" y="479"/>
                    </a:lnTo>
                    <a:lnTo>
                      <a:pt x="389" y="475"/>
                    </a:lnTo>
                    <a:lnTo>
                      <a:pt x="583" y="548"/>
                    </a:lnTo>
                    <a:lnTo>
                      <a:pt x="612" y="548"/>
                    </a:lnTo>
                    <a:lnTo>
                      <a:pt x="618" y="563"/>
                    </a:lnTo>
                    <a:lnTo>
                      <a:pt x="651" y="548"/>
                    </a:lnTo>
                    <a:lnTo>
                      <a:pt x="655" y="530"/>
                    </a:lnTo>
                    <a:lnTo>
                      <a:pt x="671" y="522"/>
                    </a:lnTo>
                    <a:lnTo>
                      <a:pt x="686" y="530"/>
                    </a:lnTo>
                    <a:lnTo>
                      <a:pt x="706" y="514"/>
                    </a:lnTo>
                    <a:lnTo>
                      <a:pt x="718" y="512"/>
                    </a:lnTo>
                    <a:lnTo>
                      <a:pt x="733" y="518"/>
                    </a:lnTo>
                    <a:lnTo>
                      <a:pt x="735" y="510"/>
                    </a:lnTo>
                    <a:lnTo>
                      <a:pt x="739" y="503"/>
                    </a:lnTo>
                    <a:lnTo>
                      <a:pt x="755" y="499"/>
                    </a:lnTo>
                    <a:lnTo>
                      <a:pt x="772" y="454"/>
                    </a:lnTo>
                    <a:lnTo>
                      <a:pt x="784" y="446"/>
                    </a:lnTo>
                    <a:lnTo>
                      <a:pt x="845" y="450"/>
                    </a:lnTo>
                    <a:lnTo>
                      <a:pt x="862" y="430"/>
                    </a:lnTo>
                    <a:lnTo>
                      <a:pt x="876" y="421"/>
                    </a:lnTo>
                    <a:lnTo>
                      <a:pt x="880" y="421"/>
                    </a:lnTo>
                    <a:lnTo>
                      <a:pt x="907" y="446"/>
                    </a:lnTo>
                    <a:lnTo>
                      <a:pt x="925" y="497"/>
                    </a:lnTo>
                    <a:lnTo>
                      <a:pt x="940" y="495"/>
                    </a:lnTo>
                    <a:lnTo>
                      <a:pt x="970" y="464"/>
                    </a:lnTo>
                    <a:lnTo>
                      <a:pt x="979" y="462"/>
                    </a:lnTo>
                    <a:lnTo>
                      <a:pt x="927" y="295"/>
                    </a:lnTo>
                    <a:lnTo>
                      <a:pt x="925" y="290"/>
                    </a:lnTo>
                    <a:lnTo>
                      <a:pt x="913" y="290"/>
                    </a:lnTo>
                    <a:lnTo>
                      <a:pt x="895" y="297"/>
                    </a:lnTo>
                    <a:lnTo>
                      <a:pt x="841" y="274"/>
                    </a:lnTo>
                    <a:lnTo>
                      <a:pt x="817" y="249"/>
                    </a:lnTo>
                    <a:lnTo>
                      <a:pt x="819" y="239"/>
                    </a:lnTo>
                    <a:lnTo>
                      <a:pt x="837" y="219"/>
                    </a:lnTo>
                    <a:lnTo>
                      <a:pt x="837" y="213"/>
                    </a:lnTo>
                    <a:lnTo>
                      <a:pt x="804" y="174"/>
                    </a:lnTo>
                    <a:lnTo>
                      <a:pt x="798" y="131"/>
                    </a:lnTo>
                    <a:lnTo>
                      <a:pt x="782" y="116"/>
                    </a:lnTo>
                    <a:lnTo>
                      <a:pt x="727" y="139"/>
                    </a:lnTo>
                    <a:lnTo>
                      <a:pt x="620" y="69"/>
                    </a:lnTo>
                    <a:lnTo>
                      <a:pt x="604" y="28"/>
                    </a:lnTo>
                    <a:lnTo>
                      <a:pt x="579" y="4"/>
                    </a:lnTo>
                    <a:lnTo>
                      <a:pt x="573" y="6"/>
                    </a:lnTo>
                    <a:lnTo>
                      <a:pt x="559" y="24"/>
                    </a:lnTo>
                    <a:lnTo>
                      <a:pt x="487" y="32"/>
                    </a:lnTo>
                    <a:lnTo>
                      <a:pt x="465" y="61"/>
                    </a:lnTo>
                    <a:lnTo>
                      <a:pt x="456" y="63"/>
                    </a:lnTo>
                    <a:lnTo>
                      <a:pt x="452" y="61"/>
                    </a:lnTo>
                    <a:lnTo>
                      <a:pt x="448" y="57"/>
                    </a:lnTo>
                    <a:lnTo>
                      <a:pt x="460" y="26"/>
                    </a:lnTo>
                    <a:lnTo>
                      <a:pt x="546" y="12"/>
                    </a:lnTo>
                    <a:lnTo>
                      <a:pt x="553" y="4"/>
                    </a:lnTo>
                    <a:lnTo>
                      <a:pt x="549" y="0"/>
                    </a:lnTo>
                    <a:lnTo>
                      <a:pt x="471" y="0"/>
                    </a:lnTo>
                    <a:lnTo>
                      <a:pt x="454" y="8"/>
                    </a:lnTo>
                    <a:lnTo>
                      <a:pt x="377" y="116"/>
                    </a:lnTo>
                    <a:lnTo>
                      <a:pt x="227" y="168"/>
                    </a:lnTo>
                    <a:lnTo>
                      <a:pt x="239" y="184"/>
                    </a:lnTo>
                    <a:lnTo>
                      <a:pt x="229" y="227"/>
                    </a:lnTo>
                    <a:lnTo>
                      <a:pt x="211" y="249"/>
                    </a:lnTo>
                    <a:lnTo>
                      <a:pt x="209" y="252"/>
                    </a:lnTo>
                    <a:lnTo>
                      <a:pt x="137" y="202"/>
                    </a:lnTo>
                    <a:lnTo>
                      <a:pt x="116" y="200"/>
                    </a:lnTo>
                    <a:lnTo>
                      <a:pt x="65" y="227"/>
                    </a:lnTo>
                    <a:close/>
                  </a:path>
                </a:pathLst>
              </a:custGeom>
              <a:solidFill>
                <a:srgbClr val="DADAE1"/>
              </a:solidFill>
              <a:ln w="14288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eaLnBrk="0" fontAlgn="auto" hangingPunct="0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e-DE" sz="800" kern="0">
                  <a:solidFill>
                    <a:sysClr val="windowText" lastClr="000000"/>
                  </a:solidFill>
                  <a:latin typeface="DIN-Medium" pitchFamily="34" charset="0"/>
                  <a:cs typeface="+mn-cs"/>
                </a:endParaRPr>
              </a:p>
            </p:txBody>
          </p:sp>
          <p:sp>
            <p:nvSpPr>
              <p:cNvPr id="93" name="Schleswig-Holstein"/>
              <p:cNvSpPr>
                <a:spLocks/>
              </p:cNvSpPr>
              <p:nvPr/>
            </p:nvSpPr>
            <p:spPr bwMode="auto">
              <a:xfrm>
                <a:off x="1574800" y="1179513"/>
                <a:ext cx="1028700" cy="1047750"/>
              </a:xfrm>
              <a:custGeom>
                <a:avLst/>
                <a:gdLst/>
                <a:ahLst/>
                <a:cxnLst>
                  <a:cxn ang="0">
                    <a:pos x="168" y="449"/>
                  </a:cxn>
                  <a:cxn ang="0">
                    <a:pos x="58" y="373"/>
                  </a:cxn>
                  <a:cxn ang="0">
                    <a:pos x="74" y="369"/>
                  </a:cxn>
                  <a:cxn ang="0">
                    <a:pos x="103" y="379"/>
                  </a:cxn>
                  <a:cxn ang="0">
                    <a:pos x="91" y="340"/>
                  </a:cxn>
                  <a:cxn ang="0">
                    <a:pos x="64" y="340"/>
                  </a:cxn>
                  <a:cxn ang="0">
                    <a:pos x="56" y="328"/>
                  </a:cxn>
                  <a:cxn ang="0">
                    <a:pos x="62" y="291"/>
                  </a:cxn>
                  <a:cxn ang="0">
                    <a:pos x="95" y="281"/>
                  </a:cxn>
                  <a:cxn ang="0">
                    <a:pos x="111" y="245"/>
                  </a:cxn>
                  <a:cxn ang="0">
                    <a:pos x="115" y="234"/>
                  </a:cxn>
                  <a:cxn ang="0">
                    <a:pos x="11" y="271"/>
                  </a:cxn>
                  <a:cxn ang="0">
                    <a:pos x="2" y="238"/>
                  </a:cxn>
                  <a:cxn ang="0">
                    <a:pos x="109" y="191"/>
                  </a:cxn>
                  <a:cxn ang="0">
                    <a:pos x="50" y="96"/>
                  </a:cxn>
                  <a:cxn ang="0">
                    <a:pos x="23" y="15"/>
                  </a:cxn>
                  <a:cxn ang="0">
                    <a:pos x="197" y="72"/>
                  </a:cxn>
                  <a:cxn ang="0">
                    <a:pos x="267" y="27"/>
                  </a:cxn>
                  <a:cxn ang="0">
                    <a:pos x="340" y="72"/>
                  </a:cxn>
                  <a:cxn ang="0">
                    <a:pos x="351" y="53"/>
                  </a:cxn>
                  <a:cxn ang="0">
                    <a:pos x="359" y="55"/>
                  </a:cxn>
                  <a:cxn ang="0">
                    <a:pos x="342" y="199"/>
                  </a:cxn>
                  <a:cxn ang="0">
                    <a:pos x="351" y="201"/>
                  </a:cxn>
                  <a:cxn ang="0">
                    <a:pos x="414" y="211"/>
                  </a:cxn>
                  <a:cxn ang="0">
                    <a:pos x="574" y="254"/>
                  </a:cxn>
                  <a:cxn ang="0">
                    <a:pos x="660" y="240"/>
                  </a:cxn>
                  <a:cxn ang="0">
                    <a:pos x="641" y="264"/>
                  </a:cxn>
                  <a:cxn ang="0">
                    <a:pos x="568" y="369"/>
                  </a:cxn>
                  <a:cxn ang="0">
                    <a:pos x="568" y="391"/>
                  </a:cxn>
                  <a:cxn ang="0">
                    <a:pos x="574" y="500"/>
                  </a:cxn>
                  <a:cxn ang="0">
                    <a:pos x="602" y="561"/>
                  </a:cxn>
                  <a:cxn ang="0">
                    <a:pos x="576" y="600"/>
                  </a:cxn>
                  <a:cxn ang="0">
                    <a:pos x="531" y="672"/>
                  </a:cxn>
                  <a:cxn ang="0">
                    <a:pos x="424" y="600"/>
                  </a:cxn>
                  <a:cxn ang="0">
                    <a:pos x="435" y="561"/>
                  </a:cxn>
                  <a:cxn ang="0">
                    <a:pos x="418" y="524"/>
                  </a:cxn>
                  <a:cxn ang="0">
                    <a:pos x="412" y="502"/>
                  </a:cxn>
                  <a:cxn ang="0">
                    <a:pos x="379" y="512"/>
                  </a:cxn>
                  <a:cxn ang="0">
                    <a:pos x="344" y="529"/>
                  </a:cxn>
                  <a:cxn ang="0">
                    <a:pos x="330" y="553"/>
                  </a:cxn>
                  <a:cxn ang="0">
                    <a:pos x="293" y="586"/>
                  </a:cxn>
                  <a:cxn ang="0">
                    <a:pos x="254" y="572"/>
                  </a:cxn>
                  <a:cxn ang="0">
                    <a:pos x="169" y="464"/>
                  </a:cxn>
                </a:cxnLst>
                <a:rect l="0" t="0" r="r" b="b"/>
                <a:pathLst>
                  <a:path w="660" h="672">
                    <a:moveTo>
                      <a:pt x="169" y="464"/>
                    </a:moveTo>
                    <a:lnTo>
                      <a:pt x="168" y="449"/>
                    </a:lnTo>
                    <a:lnTo>
                      <a:pt x="93" y="430"/>
                    </a:lnTo>
                    <a:lnTo>
                      <a:pt x="58" y="373"/>
                    </a:lnTo>
                    <a:lnTo>
                      <a:pt x="62" y="369"/>
                    </a:lnTo>
                    <a:lnTo>
                      <a:pt x="74" y="369"/>
                    </a:lnTo>
                    <a:lnTo>
                      <a:pt x="97" y="383"/>
                    </a:lnTo>
                    <a:lnTo>
                      <a:pt x="103" y="379"/>
                    </a:lnTo>
                    <a:lnTo>
                      <a:pt x="105" y="365"/>
                    </a:lnTo>
                    <a:lnTo>
                      <a:pt x="91" y="340"/>
                    </a:lnTo>
                    <a:lnTo>
                      <a:pt x="86" y="336"/>
                    </a:lnTo>
                    <a:lnTo>
                      <a:pt x="64" y="340"/>
                    </a:lnTo>
                    <a:lnTo>
                      <a:pt x="58" y="336"/>
                    </a:lnTo>
                    <a:lnTo>
                      <a:pt x="56" y="328"/>
                    </a:lnTo>
                    <a:lnTo>
                      <a:pt x="66" y="295"/>
                    </a:lnTo>
                    <a:lnTo>
                      <a:pt x="62" y="291"/>
                    </a:lnTo>
                    <a:lnTo>
                      <a:pt x="72" y="281"/>
                    </a:lnTo>
                    <a:lnTo>
                      <a:pt x="95" y="281"/>
                    </a:lnTo>
                    <a:lnTo>
                      <a:pt x="117" y="248"/>
                    </a:lnTo>
                    <a:lnTo>
                      <a:pt x="111" y="245"/>
                    </a:lnTo>
                    <a:lnTo>
                      <a:pt x="115" y="236"/>
                    </a:lnTo>
                    <a:lnTo>
                      <a:pt x="115" y="234"/>
                    </a:lnTo>
                    <a:lnTo>
                      <a:pt x="82" y="262"/>
                    </a:lnTo>
                    <a:lnTo>
                      <a:pt x="11" y="271"/>
                    </a:lnTo>
                    <a:lnTo>
                      <a:pt x="0" y="252"/>
                    </a:lnTo>
                    <a:lnTo>
                      <a:pt x="2" y="238"/>
                    </a:lnTo>
                    <a:lnTo>
                      <a:pt x="105" y="203"/>
                    </a:lnTo>
                    <a:lnTo>
                      <a:pt x="109" y="191"/>
                    </a:lnTo>
                    <a:lnTo>
                      <a:pt x="58" y="96"/>
                    </a:lnTo>
                    <a:lnTo>
                      <a:pt x="50" y="96"/>
                    </a:lnTo>
                    <a:lnTo>
                      <a:pt x="41" y="90"/>
                    </a:lnTo>
                    <a:lnTo>
                      <a:pt x="23" y="15"/>
                    </a:lnTo>
                    <a:lnTo>
                      <a:pt x="29" y="0"/>
                    </a:lnTo>
                    <a:lnTo>
                      <a:pt x="197" y="72"/>
                    </a:lnTo>
                    <a:lnTo>
                      <a:pt x="258" y="27"/>
                    </a:lnTo>
                    <a:lnTo>
                      <a:pt x="267" y="27"/>
                    </a:lnTo>
                    <a:lnTo>
                      <a:pt x="326" y="72"/>
                    </a:lnTo>
                    <a:lnTo>
                      <a:pt x="340" y="72"/>
                    </a:lnTo>
                    <a:lnTo>
                      <a:pt x="346" y="55"/>
                    </a:lnTo>
                    <a:lnTo>
                      <a:pt x="351" y="53"/>
                    </a:lnTo>
                    <a:lnTo>
                      <a:pt x="355" y="53"/>
                    </a:lnTo>
                    <a:lnTo>
                      <a:pt x="359" y="55"/>
                    </a:lnTo>
                    <a:lnTo>
                      <a:pt x="375" y="156"/>
                    </a:lnTo>
                    <a:lnTo>
                      <a:pt x="342" y="199"/>
                    </a:lnTo>
                    <a:lnTo>
                      <a:pt x="344" y="201"/>
                    </a:lnTo>
                    <a:lnTo>
                      <a:pt x="351" y="201"/>
                    </a:lnTo>
                    <a:lnTo>
                      <a:pt x="389" y="195"/>
                    </a:lnTo>
                    <a:lnTo>
                      <a:pt x="414" y="211"/>
                    </a:lnTo>
                    <a:lnTo>
                      <a:pt x="475" y="209"/>
                    </a:lnTo>
                    <a:lnTo>
                      <a:pt x="574" y="254"/>
                    </a:lnTo>
                    <a:lnTo>
                      <a:pt x="654" y="232"/>
                    </a:lnTo>
                    <a:lnTo>
                      <a:pt x="660" y="240"/>
                    </a:lnTo>
                    <a:lnTo>
                      <a:pt x="660" y="244"/>
                    </a:lnTo>
                    <a:lnTo>
                      <a:pt x="641" y="264"/>
                    </a:lnTo>
                    <a:lnTo>
                      <a:pt x="643" y="316"/>
                    </a:lnTo>
                    <a:lnTo>
                      <a:pt x="568" y="369"/>
                    </a:lnTo>
                    <a:lnTo>
                      <a:pt x="564" y="375"/>
                    </a:lnTo>
                    <a:lnTo>
                      <a:pt x="568" y="391"/>
                    </a:lnTo>
                    <a:lnTo>
                      <a:pt x="596" y="416"/>
                    </a:lnTo>
                    <a:lnTo>
                      <a:pt x="574" y="500"/>
                    </a:lnTo>
                    <a:lnTo>
                      <a:pt x="607" y="542"/>
                    </a:lnTo>
                    <a:lnTo>
                      <a:pt x="602" y="561"/>
                    </a:lnTo>
                    <a:lnTo>
                      <a:pt x="576" y="572"/>
                    </a:lnTo>
                    <a:lnTo>
                      <a:pt x="576" y="600"/>
                    </a:lnTo>
                    <a:lnTo>
                      <a:pt x="541" y="641"/>
                    </a:lnTo>
                    <a:lnTo>
                      <a:pt x="531" y="672"/>
                    </a:lnTo>
                    <a:lnTo>
                      <a:pt x="486" y="660"/>
                    </a:lnTo>
                    <a:lnTo>
                      <a:pt x="424" y="600"/>
                    </a:lnTo>
                    <a:lnTo>
                      <a:pt x="424" y="572"/>
                    </a:lnTo>
                    <a:lnTo>
                      <a:pt x="435" y="561"/>
                    </a:lnTo>
                    <a:lnTo>
                      <a:pt x="435" y="555"/>
                    </a:lnTo>
                    <a:lnTo>
                      <a:pt x="418" y="524"/>
                    </a:lnTo>
                    <a:lnTo>
                      <a:pt x="416" y="510"/>
                    </a:lnTo>
                    <a:lnTo>
                      <a:pt x="412" y="502"/>
                    </a:lnTo>
                    <a:lnTo>
                      <a:pt x="402" y="498"/>
                    </a:lnTo>
                    <a:lnTo>
                      <a:pt x="379" y="512"/>
                    </a:lnTo>
                    <a:lnTo>
                      <a:pt x="367" y="508"/>
                    </a:lnTo>
                    <a:lnTo>
                      <a:pt x="344" y="529"/>
                    </a:lnTo>
                    <a:lnTo>
                      <a:pt x="340" y="545"/>
                    </a:lnTo>
                    <a:lnTo>
                      <a:pt x="330" y="553"/>
                    </a:lnTo>
                    <a:lnTo>
                      <a:pt x="312" y="547"/>
                    </a:lnTo>
                    <a:lnTo>
                      <a:pt x="293" y="586"/>
                    </a:lnTo>
                    <a:lnTo>
                      <a:pt x="287" y="590"/>
                    </a:lnTo>
                    <a:lnTo>
                      <a:pt x="254" y="572"/>
                    </a:lnTo>
                    <a:lnTo>
                      <a:pt x="177" y="473"/>
                    </a:lnTo>
                    <a:lnTo>
                      <a:pt x="169" y="464"/>
                    </a:lnTo>
                    <a:close/>
                  </a:path>
                </a:pathLst>
              </a:custGeom>
              <a:solidFill>
                <a:srgbClr val="DADAE1"/>
              </a:solidFill>
              <a:ln w="14288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eaLnBrk="0" fontAlgn="auto" hangingPunct="0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e-DE" sz="800" kern="0">
                  <a:solidFill>
                    <a:sysClr val="windowText" lastClr="000000"/>
                  </a:solidFill>
                  <a:latin typeface="DIN-Medium" pitchFamily="34" charset="0"/>
                  <a:cs typeface="+mn-cs"/>
                </a:endParaRPr>
              </a:p>
            </p:txBody>
          </p:sp>
          <p:sp>
            <p:nvSpPr>
              <p:cNvPr id="94" name="Niedersachsen"/>
              <p:cNvSpPr>
                <a:spLocks/>
              </p:cNvSpPr>
              <p:nvPr/>
            </p:nvSpPr>
            <p:spPr bwMode="auto">
              <a:xfrm>
                <a:off x="808038" y="1866900"/>
                <a:ext cx="1998662" cy="1735138"/>
              </a:xfrm>
              <a:custGeom>
                <a:avLst/>
                <a:gdLst/>
                <a:ahLst/>
                <a:cxnLst>
                  <a:cxn ang="0">
                    <a:pos x="950" y="993"/>
                  </a:cxn>
                  <a:cxn ang="0">
                    <a:pos x="940" y="1028"/>
                  </a:cxn>
                  <a:cxn ang="0">
                    <a:pos x="815" y="1052"/>
                  </a:cxn>
                  <a:cxn ang="0">
                    <a:pos x="811" y="1071"/>
                  </a:cxn>
                  <a:cxn ang="0">
                    <a:pos x="758" y="1073"/>
                  </a:cxn>
                  <a:cxn ang="0">
                    <a:pos x="786" y="1112"/>
                  </a:cxn>
                  <a:cxn ang="0">
                    <a:pos x="729" y="1077"/>
                  </a:cxn>
                  <a:cxn ang="0">
                    <a:pos x="751" y="1026"/>
                  </a:cxn>
                  <a:cxn ang="0">
                    <a:pos x="700" y="972"/>
                  </a:cxn>
                  <a:cxn ang="0">
                    <a:pos x="688" y="872"/>
                  </a:cxn>
                  <a:cxn ang="0">
                    <a:pos x="670" y="825"/>
                  </a:cxn>
                  <a:cxn ang="0">
                    <a:pos x="639" y="759"/>
                  </a:cxn>
                  <a:cxn ang="0">
                    <a:pos x="633" y="724"/>
                  </a:cxn>
                  <a:cxn ang="0">
                    <a:pos x="600" y="690"/>
                  </a:cxn>
                  <a:cxn ang="0">
                    <a:pos x="641" y="598"/>
                  </a:cxn>
                  <a:cxn ang="0">
                    <a:pos x="618" y="554"/>
                  </a:cxn>
                  <a:cxn ang="0">
                    <a:pos x="518" y="602"/>
                  </a:cxn>
                  <a:cxn ang="0">
                    <a:pos x="504" y="557"/>
                  </a:cxn>
                  <a:cxn ang="0">
                    <a:pos x="416" y="581"/>
                  </a:cxn>
                  <a:cxn ang="0">
                    <a:pos x="450" y="690"/>
                  </a:cxn>
                  <a:cxn ang="0">
                    <a:pos x="446" y="724"/>
                  </a:cxn>
                  <a:cxn ang="0">
                    <a:pos x="299" y="745"/>
                  </a:cxn>
                  <a:cxn ang="0">
                    <a:pos x="330" y="718"/>
                  </a:cxn>
                  <a:cxn ang="0">
                    <a:pos x="350" y="704"/>
                  </a:cxn>
                  <a:cxn ang="0">
                    <a:pos x="311" y="663"/>
                  </a:cxn>
                  <a:cxn ang="0">
                    <a:pos x="319" y="595"/>
                  </a:cxn>
                  <a:cxn ang="0">
                    <a:pos x="258" y="565"/>
                  </a:cxn>
                  <a:cxn ang="0">
                    <a:pos x="223" y="581"/>
                  </a:cxn>
                  <a:cxn ang="0">
                    <a:pos x="207" y="620"/>
                  </a:cxn>
                  <a:cxn ang="0">
                    <a:pos x="96" y="661"/>
                  </a:cxn>
                  <a:cxn ang="0">
                    <a:pos x="94" y="630"/>
                  </a:cxn>
                  <a:cxn ang="0">
                    <a:pos x="63" y="616"/>
                  </a:cxn>
                  <a:cxn ang="0">
                    <a:pos x="14" y="526"/>
                  </a:cxn>
                  <a:cxn ang="0">
                    <a:pos x="133" y="255"/>
                  </a:cxn>
                  <a:cxn ang="0">
                    <a:pos x="74" y="208"/>
                  </a:cxn>
                  <a:cxn ang="0">
                    <a:pos x="102" y="139"/>
                  </a:cxn>
                  <a:cxn ang="0">
                    <a:pos x="90" y="120"/>
                  </a:cxn>
                  <a:cxn ang="0">
                    <a:pos x="371" y="163"/>
                  </a:cxn>
                  <a:cxn ang="0">
                    <a:pos x="338" y="169"/>
                  </a:cxn>
                  <a:cxn ang="0">
                    <a:pos x="397" y="196"/>
                  </a:cxn>
                  <a:cxn ang="0">
                    <a:pos x="391" y="137"/>
                  </a:cxn>
                  <a:cxn ang="0">
                    <a:pos x="407" y="116"/>
                  </a:cxn>
                  <a:cxn ang="0">
                    <a:pos x="473" y="147"/>
                  </a:cxn>
                  <a:cxn ang="0">
                    <a:pos x="495" y="4"/>
                  </a:cxn>
                  <a:cxn ang="0">
                    <a:pos x="663" y="24"/>
                  </a:cxn>
                  <a:cxn ang="0">
                    <a:pos x="829" y="210"/>
                  </a:cxn>
                  <a:cxn ang="0">
                    <a:pos x="850" y="227"/>
                  </a:cxn>
                  <a:cxn ang="0">
                    <a:pos x="932" y="225"/>
                  </a:cxn>
                  <a:cxn ang="0">
                    <a:pos x="1136" y="313"/>
                  </a:cxn>
                  <a:cxn ang="0">
                    <a:pos x="1198" y="346"/>
                  </a:cxn>
                  <a:cxn ang="0">
                    <a:pos x="1245" y="411"/>
                  </a:cxn>
                  <a:cxn ang="0">
                    <a:pos x="1118" y="446"/>
                  </a:cxn>
                  <a:cxn ang="0">
                    <a:pos x="1071" y="454"/>
                  </a:cxn>
                  <a:cxn ang="0">
                    <a:pos x="1069" y="495"/>
                  </a:cxn>
                  <a:cxn ang="0">
                    <a:pos x="1106" y="528"/>
                  </a:cxn>
                  <a:cxn ang="0">
                    <a:pos x="1122" y="712"/>
                  </a:cxn>
                  <a:cxn ang="0">
                    <a:pos x="1110" y="772"/>
                  </a:cxn>
                  <a:cxn ang="0">
                    <a:pos x="1036" y="867"/>
                  </a:cxn>
                  <a:cxn ang="0">
                    <a:pos x="1024" y="985"/>
                  </a:cxn>
                </a:cxnLst>
                <a:rect l="0" t="0" r="r" b="b"/>
                <a:pathLst>
                  <a:path w="1284" h="1112">
                    <a:moveTo>
                      <a:pt x="1016" y="987"/>
                    </a:moveTo>
                    <a:lnTo>
                      <a:pt x="962" y="960"/>
                    </a:lnTo>
                    <a:lnTo>
                      <a:pt x="950" y="993"/>
                    </a:lnTo>
                    <a:lnTo>
                      <a:pt x="942" y="999"/>
                    </a:lnTo>
                    <a:lnTo>
                      <a:pt x="942" y="1021"/>
                    </a:lnTo>
                    <a:lnTo>
                      <a:pt x="940" y="1028"/>
                    </a:lnTo>
                    <a:lnTo>
                      <a:pt x="850" y="1077"/>
                    </a:lnTo>
                    <a:lnTo>
                      <a:pt x="823" y="1052"/>
                    </a:lnTo>
                    <a:lnTo>
                      <a:pt x="815" y="1052"/>
                    </a:lnTo>
                    <a:lnTo>
                      <a:pt x="813" y="1056"/>
                    </a:lnTo>
                    <a:lnTo>
                      <a:pt x="815" y="1071"/>
                    </a:lnTo>
                    <a:lnTo>
                      <a:pt x="811" y="1071"/>
                    </a:lnTo>
                    <a:lnTo>
                      <a:pt x="807" y="1071"/>
                    </a:lnTo>
                    <a:lnTo>
                      <a:pt x="786" y="1060"/>
                    </a:lnTo>
                    <a:lnTo>
                      <a:pt x="758" y="1073"/>
                    </a:lnTo>
                    <a:lnTo>
                      <a:pt x="788" y="1101"/>
                    </a:lnTo>
                    <a:lnTo>
                      <a:pt x="788" y="1109"/>
                    </a:lnTo>
                    <a:lnTo>
                      <a:pt x="786" y="1112"/>
                    </a:lnTo>
                    <a:lnTo>
                      <a:pt x="737" y="1091"/>
                    </a:lnTo>
                    <a:lnTo>
                      <a:pt x="729" y="1085"/>
                    </a:lnTo>
                    <a:lnTo>
                      <a:pt x="729" y="1077"/>
                    </a:lnTo>
                    <a:lnTo>
                      <a:pt x="760" y="1050"/>
                    </a:lnTo>
                    <a:lnTo>
                      <a:pt x="760" y="1044"/>
                    </a:lnTo>
                    <a:lnTo>
                      <a:pt x="751" y="1026"/>
                    </a:lnTo>
                    <a:lnTo>
                      <a:pt x="768" y="999"/>
                    </a:lnTo>
                    <a:lnTo>
                      <a:pt x="766" y="960"/>
                    </a:lnTo>
                    <a:lnTo>
                      <a:pt x="700" y="972"/>
                    </a:lnTo>
                    <a:lnTo>
                      <a:pt x="682" y="964"/>
                    </a:lnTo>
                    <a:lnTo>
                      <a:pt x="692" y="882"/>
                    </a:lnTo>
                    <a:lnTo>
                      <a:pt x="688" y="872"/>
                    </a:lnTo>
                    <a:lnTo>
                      <a:pt x="676" y="868"/>
                    </a:lnTo>
                    <a:lnTo>
                      <a:pt x="680" y="835"/>
                    </a:lnTo>
                    <a:lnTo>
                      <a:pt x="670" y="825"/>
                    </a:lnTo>
                    <a:lnTo>
                      <a:pt x="651" y="823"/>
                    </a:lnTo>
                    <a:lnTo>
                      <a:pt x="651" y="774"/>
                    </a:lnTo>
                    <a:lnTo>
                      <a:pt x="639" y="759"/>
                    </a:lnTo>
                    <a:lnTo>
                      <a:pt x="612" y="747"/>
                    </a:lnTo>
                    <a:lnTo>
                      <a:pt x="608" y="718"/>
                    </a:lnTo>
                    <a:lnTo>
                      <a:pt x="633" y="724"/>
                    </a:lnTo>
                    <a:lnTo>
                      <a:pt x="633" y="702"/>
                    </a:lnTo>
                    <a:lnTo>
                      <a:pt x="631" y="694"/>
                    </a:lnTo>
                    <a:lnTo>
                      <a:pt x="600" y="690"/>
                    </a:lnTo>
                    <a:lnTo>
                      <a:pt x="614" y="641"/>
                    </a:lnTo>
                    <a:lnTo>
                      <a:pt x="631" y="628"/>
                    </a:lnTo>
                    <a:lnTo>
                      <a:pt x="641" y="598"/>
                    </a:lnTo>
                    <a:lnTo>
                      <a:pt x="635" y="583"/>
                    </a:lnTo>
                    <a:lnTo>
                      <a:pt x="641" y="567"/>
                    </a:lnTo>
                    <a:lnTo>
                      <a:pt x="618" y="554"/>
                    </a:lnTo>
                    <a:lnTo>
                      <a:pt x="584" y="589"/>
                    </a:lnTo>
                    <a:lnTo>
                      <a:pt x="584" y="595"/>
                    </a:lnTo>
                    <a:lnTo>
                      <a:pt x="518" y="602"/>
                    </a:lnTo>
                    <a:lnTo>
                      <a:pt x="512" y="591"/>
                    </a:lnTo>
                    <a:lnTo>
                      <a:pt x="510" y="561"/>
                    </a:lnTo>
                    <a:lnTo>
                      <a:pt x="504" y="557"/>
                    </a:lnTo>
                    <a:lnTo>
                      <a:pt x="465" y="563"/>
                    </a:lnTo>
                    <a:lnTo>
                      <a:pt x="430" y="585"/>
                    </a:lnTo>
                    <a:lnTo>
                      <a:pt x="416" y="581"/>
                    </a:lnTo>
                    <a:lnTo>
                      <a:pt x="409" y="602"/>
                    </a:lnTo>
                    <a:lnTo>
                      <a:pt x="446" y="624"/>
                    </a:lnTo>
                    <a:lnTo>
                      <a:pt x="450" y="690"/>
                    </a:lnTo>
                    <a:lnTo>
                      <a:pt x="469" y="698"/>
                    </a:lnTo>
                    <a:lnTo>
                      <a:pt x="469" y="704"/>
                    </a:lnTo>
                    <a:lnTo>
                      <a:pt x="446" y="724"/>
                    </a:lnTo>
                    <a:lnTo>
                      <a:pt x="418" y="720"/>
                    </a:lnTo>
                    <a:lnTo>
                      <a:pt x="307" y="751"/>
                    </a:lnTo>
                    <a:lnTo>
                      <a:pt x="299" y="745"/>
                    </a:lnTo>
                    <a:lnTo>
                      <a:pt x="297" y="733"/>
                    </a:lnTo>
                    <a:lnTo>
                      <a:pt x="305" y="724"/>
                    </a:lnTo>
                    <a:lnTo>
                      <a:pt x="330" y="718"/>
                    </a:lnTo>
                    <a:lnTo>
                      <a:pt x="332" y="712"/>
                    </a:lnTo>
                    <a:lnTo>
                      <a:pt x="338" y="706"/>
                    </a:lnTo>
                    <a:lnTo>
                      <a:pt x="350" y="704"/>
                    </a:lnTo>
                    <a:lnTo>
                      <a:pt x="342" y="677"/>
                    </a:lnTo>
                    <a:lnTo>
                      <a:pt x="323" y="677"/>
                    </a:lnTo>
                    <a:lnTo>
                      <a:pt x="311" y="663"/>
                    </a:lnTo>
                    <a:lnTo>
                      <a:pt x="336" y="622"/>
                    </a:lnTo>
                    <a:lnTo>
                      <a:pt x="336" y="614"/>
                    </a:lnTo>
                    <a:lnTo>
                      <a:pt x="319" y="595"/>
                    </a:lnTo>
                    <a:lnTo>
                      <a:pt x="262" y="579"/>
                    </a:lnTo>
                    <a:lnTo>
                      <a:pt x="262" y="573"/>
                    </a:lnTo>
                    <a:lnTo>
                      <a:pt x="258" y="565"/>
                    </a:lnTo>
                    <a:lnTo>
                      <a:pt x="229" y="550"/>
                    </a:lnTo>
                    <a:lnTo>
                      <a:pt x="205" y="573"/>
                    </a:lnTo>
                    <a:lnTo>
                      <a:pt x="223" y="581"/>
                    </a:lnTo>
                    <a:lnTo>
                      <a:pt x="201" y="608"/>
                    </a:lnTo>
                    <a:lnTo>
                      <a:pt x="207" y="616"/>
                    </a:lnTo>
                    <a:lnTo>
                      <a:pt x="207" y="620"/>
                    </a:lnTo>
                    <a:lnTo>
                      <a:pt x="143" y="665"/>
                    </a:lnTo>
                    <a:lnTo>
                      <a:pt x="106" y="665"/>
                    </a:lnTo>
                    <a:lnTo>
                      <a:pt x="96" y="661"/>
                    </a:lnTo>
                    <a:lnTo>
                      <a:pt x="86" y="647"/>
                    </a:lnTo>
                    <a:lnTo>
                      <a:pt x="88" y="638"/>
                    </a:lnTo>
                    <a:lnTo>
                      <a:pt x="94" y="630"/>
                    </a:lnTo>
                    <a:lnTo>
                      <a:pt x="94" y="622"/>
                    </a:lnTo>
                    <a:lnTo>
                      <a:pt x="76" y="602"/>
                    </a:lnTo>
                    <a:lnTo>
                      <a:pt x="63" y="616"/>
                    </a:lnTo>
                    <a:lnTo>
                      <a:pt x="0" y="589"/>
                    </a:lnTo>
                    <a:lnTo>
                      <a:pt x="0" y="544"/>
                    </a:lnTo>
                    <a:lnTo>
                      <a:pt x="14" y="526"/>
                    </a:lnTo>
                    <a:lnTo>
                      <a:pt x="94" y="532"/>
                    </a:lnTo>
                    <a:lnTo>
                      <a:pt x="104" y="520"/>
                    </a:lnTo>
                    <a:lnTo>
                      <a:pt x="133" y="255"/>
                    </a:lnTo>
                    <a:lnTo>
                      <a:pt x="149" y="239"/>
                    </a:lnTo>
                    <a:lnTo>
                      <a:pt x="151" y="231"/>
                    </a:lnTo>
                    <a:lnTo>
                      <a:pt x="74" y="208"/>
                    </a:lnTo>
                    <a:lnTo>
                      <a:pt x="68" y="198"/>
                    </a:lnTo>
                    <a:lnTo>
                      <a:pt x="74" y="157"/>
                    </a:lnTo>
                    <a:lnTo>
                      <a:pt x="102" y="139"/>
                    </a:lnTo>
                    <a:lnTo>
                      <a:pt x="104" y="135"/>
                    </a:lnTo>
                    <a:lnTo>
                      <a:pt x="104" y="129"/>
                    </a:lnTo>
                    <a:lnTo>
                      <a:pt x="90" y="120"/>
                    </a:lnTo>
                    <a:lnTo>
                      <a:pt x="125" y="86"/>
                    </a:lnTo>
                    <a:lnTo>
                      <a:pt x="336" y="75"/>
                    </a:lnTo>
                    <a:lnTo>
                      <a:pt x="371" y="163"/>
                    </a:lnTo>
                    <a:lnTo>
                      <a:pt x="364" y="161"/>
                    </a:lnTo>
                    <a:lnTo>
                      <a:pt x="342" y="167"/>
                    </a:lnTo>
                    <a:lnTo>
                      <a:pt x="338" y="169"/>
                    </a:lnTo>
                    <a:lnTo>
                      <a:pt x="338" y="174"/>
                    </a:lnTo>
                    <a:lnTo>
                      <a:pt x="383" y="196"/>
                    </a:lnTo>
                    <a:lnTo>
                      <a:pt x="397" y="196"/>
                    </a:lnTo>
                    <a:lnTo>
                      <a:pt x="399" y="194"/>
                    </a:lnTo>
                    <a:lnTo>
                      <a:pt x="412" y="165"/>
                    </a:lnTo>
                    <a:lnTo>
                      <a:pt x="391" y="137"/>
                    </a:lnTo>
                    <a:lnTo>
                      <a:pt x="391" y="133"/>
                    </a:lnTo>
                    <a:lnTo>
                      <a:pt x="395" y="126"/>
                    </a:lnTo>
                    <a:lnTo>
                      <a:pt x="407" y="116"/>
                    </a:lnTo>
                    <a:lnTo>
                      <a:pt x="457" y="151"/>
                    </a:lnTo>
                    <a:lnTo>
                      <a:pt x="469" y="151"/>
                    </a:lnTo>
                    <a:lnTo>
                      <a:pt x="473" y="147"/>
                    </a:lnTo>
                    <a:lnTo>
                      <a:pt x="475" y="143"/>
                    </a:lnTo>
                    <a:lnTo>
                      <a:pt x="452" y="98"/>
                    </a:lnTo>
                    <a:lnTo>
                      <a:pt x="495" y="4"/>
                    </a:lnTo>
                    <a:lnTo>
                      <a:pt x="504" y="0"/>
                    </a:lnTo>
                    <a:lnTo>
                      <a:pt x="538" y="20"/>
                    </a:lnTo>
                    <a:lnTo>
                      <a:pt x="663" y="24"/>
                    </a:lnTo>
                    <a:lnTo>
                      <a:pt x="823" y="215"/>
                    </a:lnTo>
                    <a:lnTo>
                      <a:pt x="825" y="215"/>
                    </a:lnTo>
                    <a:lnTo>
                      <a:pt x="829" y="210"/>
                    </a:lnTo>
                    <a:lnTo>
                      <a:pt x="833" y="200"/>
                    </a:lnTo>
                    <a:lnTo>
                      <a:pt x="848" y="210"/>
                    </a:lnTo>
                    <a:lnTo>
                      <a:pt x="850" y="227"/>
                    </a:lnTo>
                    <a:lnTo>
                      <a:pt x="885" y="219"/>
                    </a:lnTo>
                    <a:lnTo>
                      <a:pt x="895" y="208"/>
                    </a:lnTo>
                    <a:lnTo>
                      <a:pt x="932" y="225"/>
                    </a:lnTo>
                    <a:lnTo>
                      <a:pt x="962" y="210"/>
                    </a:lnTo>
                    <a:lnTo>
                      <a:pt x="1050" y="237"/>
                    </a:lnTo>
                    <a:lnTo>
                      <a:pt x="1136" y="313"/>
                    </a:lnTo>
                    <a:lnTo>
                      <a:pt x="1161" y="311"/>
                    </a:lnTo>
                    <a:lnTo>
                      <a:pt x="1169" y="315"/>
                    </a:lnTo>
                    <a:lnTo>
                      <a:pt x="1198" y="346"/>
                    </a:lnTo>
                    <a:lnTo>
                      <a:pt x="1235" y="339"/>
                    </a:lnTo>
                    <a:lnTo>
                      <a:pt x="1284" y="362"/>
                    </a:lnTo>
                    <a:lnTo>
                      <a:pt x="1245" y="411"/>
                    </a:lnTo>
                    <a:lnTo>
                      <a:pt x="1245" y="415"/>
                    </a:lnTo>
                    <a:lnTo>
                      <a:pt x="1247" y="421"/>
                    </a:lnTo>
                    <a:lnTo>
                      <a:pt x="1118" y="446"/>
                    </a:lnTo>
                    <a:lnTo>
                      <a:pt x="1116" y="448"/>
                    </a:lnTo>
                    <a:lnTo>
                      <a:pt x="1116" y="454"/>
                    </a:lnTo>
                    <a:lnTo>
                      <a:pt x="1071" y="454"/>
                    </a:lnTo>
                    <a:lnTo>
                      <a:pt x="1063" y="462"/>
                    </a:lnTo>
                    <a:lnTo>
                      <a:pt x="1061" y="475"/>
                    </a:lnTo>
                    <a:lnTo>
                      <a:pt x="1069" y="495"/>
                    </a:lnTo>
                    <a:lnTo>
                      <a:pt x="1077" y="501"/>
                    </a:lnTo>
                    <a:lnTo>
                      <a:pt x="1085" y="524"/>
                    </a:lnTo>
                    <a:lnTo>
                      <a:pt x="1106" y="528"/>
                    </a:lnTo>
                    <a:lnTo>
                      <a:pt x="1130" y="612"/>
                    </a:lnTo>
                    <a:lnTo>
                      <a:pt x="1118" y="622"/>
                    </a:lnTo>
                    <a:lnTo>
                      <a:pt x="1122" y="712"/>
                    </a:lnTo>
                    <a:lnTo>
                      <a:pt x="1128" y="722"/>
                    </a:lnTo>
                    <a:lnTo>
                      <a:pt x="1132" y="724"/>
                    </a:lnTo>
                    <a:lnTo>
                      <a:pt x="1110" y="772"/>
                    </a:lnTo>
                    <a:lnTo>
                      <a:pt x="1034" y="798"/>
                    </a:lnTo>
                    <a:lnTo>
                      <a:pt x="1028" y="833"/>
                    </a:lnTo>
                    <a:lnTo>
                      <a:pt x="1036" y="867"/>
                    </a:lnTo>
                    <a:lnTo>
                      <a:pt x="1022" y="919"/>
                    </a:lnTo>
                    <a:lnTo>
                      <a:pt x="1030" y="963"/>
                    </a:lnTo>
                    <a:lnTo>
                      <a:pt x="1024" y="985"/>
                    </a:lnTo>
                    <a:lnTo>
                      <a:pt x="1016" y="987"/>
                    </a:lnTo>
                    <a:close/>
                  </a:path>
                </a:pathLst>
              </a:custGeom>
              <a:solidFill>
                <a:srgbClr val="DADAE1"/>
              </a:solidFill>
              <a:ln w="14288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eaLnBrk="0" fontAlgn="auto" hangingPunct="0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de-DE" sz="800" kern="0">
                  <a:solidFill>
                    <a:sysClr val="windowText" lastClr="000000"/>
                  </a:solidFill>
                  <a:latin typeface="DIN-Medium" pitchFamily="34" charset="0"/>
                  <a:cs typeface="+mn-cs"/>
                </a:endParaRPr>
              </a:p>
            </p:txBody>
          </p:sp>
        </p:grpSp>
      </p:grpSp>
      <p:sp>
        <p:nvSpPr>
          <p:cNvPr id="95" name="Text München"/>
          <p:cNvSpPr txBox="1">
            <a:spLocks noChangeArrowheads="1"/>
          </p:cNvSpPr>
          <p:nvPr/>
        </p:nvSpPr>
        <p:spPr bwMode="auto">
          <a:xfrm>
            <a:off x="6670233" y="5751513"/>
            <a:ext cx="557212" cy="2159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eaLnBrk="0" fontAlgn="auto" hangingPunc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de-DE" sz="800" kern="0" noProof="1">
                <a:solidFill>
                  <a:srgbClr val="000000">
                    <a:lumMod val="65000"/>
                    <a:lumOff val="35000"/>
                  </a:srgbClr>
                </a:solidFill>
                <a:latin typeface="DIN-Medium" pitchFamily="34" charset="0"/>
                <a:cs typeface="+mn-cs"/>
              </a:rPr>
              <a:t>München</a:t>
            </a:r>
          </a:p>
        </p:txBody>
      </p:sp>
      <p:sp>
        <p:nvSpPr>
          <p:cNvPr id="96" name="Text Stuttgart"/>
          <p:cNvSpPr txBox="1">
            <a:spLocks noChangeArrowheads="1"/>
          </p:cNvSpPr>
          <p:nvPr/>
        </p:nvSpPr>
        <p:spPr bwMode="auto">
          <a:xfrm>
            <a:off x="5943158" y="5465763"/>
            <a:ext cx="546100" cy="2159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eaLnBrk="0" fontAlgn="auto" hangingPunc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de-DE" sz="800" kern="0" noProof="1">
                <a:solidFill>
                  <a:srgbClr val="000000">
                    <a:lumMod val="65000"/>
                    <a:lumOff val="35000"/>
                  </a:srgbClr>
                </a:solidFill>
                <a:latin typeface="DIN-Medium" pitchFamily="34" charset="0"/>
                <a:cs typeface="+mn-cs"/>
              </a:rPr>
              <a:t>Stuttgart</a:t>
            </a:r>
          </a:p>
        </p:txBody>
      </p:sp>
      <p:sp>
        <p:nvSpPr>
          <p:cNvPr id="97" name="Text Nürnberg"/>
          <p:cNvSpPr txBox="1">
            <a:spLocks noChangeArrowheads="1"/>
          </p:cNvSpPr>
          <p:nvPr/>
        </p:nvSpPr>
        <p:spPr bwMode="auto">
          <a:xfrm>
            <a:off x="6357495" y="4862513"/>
            <a:ext cx="579438" cy="2159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eaLnBrk="0" fontAlgn="auto" hangingPunc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de-DE" sz="800" kern="0" noProof="1">
                <a:solidFill>
                  <a:srgbClr val="000000">
                    <a:lumMod val="65000"/>
                    <a:lumOff val="35000"/>
                  </a:srgbClr>
                </a:solidFill>
                <a:latin typeface="DIN-Medium" pitchFamily="34" charset="0"/>
                <a:cs typeface="+mn-cs"/>
              </a:rPr>
              <a:t>Nürnberg</a:t>
            </a:r>
          </a:p>
        </p:txBody>
      </p:sp>
      <p:sp>
        <p:nvSpPr>
          <p:cNvPr id="98" name="Text Frankfurt"/>
          <p:cNvSpPr txBox="1">
            <a:spLocks noChangeArrowheads="1"/>
          </p:cNvSpPr>
          <p:nvPr/>
        </p:nvSpPr>
        <p:spPr bwMode="auto">
          <a:xfrm>
            <a:off x="5576445" y="4467225"/>
            <a:ext cx="573088" cy="2159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eaLnBrk="0" fontAlgn="auto" hangingPunc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de-DE" sz="800" kern="0" noProof="1">
                <a:solidFill>
                  <a:srgbClr val="000000">
                    <a:lumMod val="65000"/>
                    <a:lumOff val="35000"/>
                  </a:srgbClr>
                </a:solidFill>
                <a:latin typeface="DIN-Medium" pitchFamily="34" charset="0"/>
                <a:cs typeface="+mn-cs"/>
              </a:rPr>
              <a:t>Frankfurt</a:t>
            </a:r>
          </a:p>
        </p:txBody>
      </p:sp>
      <p:sp>
        <p:nvSpPr>
          <p:cNvPr id="99" name="Text Düsseldorf"/>
          <p:cNvSpPr txBox="1">
            <a:spLocks noChangeArrowheads="1"/>
          </p:cNvSpPr>
          <p:nvPr/>
        </p:nvSpPr>
        <p:spPr bwMode="auto">
          <a:xfrm>
            <a:off x="4923983" y="3717925"/>
            <a:ext cx="631825" cy="2159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eaLnBrk="0" fontAlgn="auto" hangingPunc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de-DE" sz="800" kern="0" noProof="1">
                <a:solidFill>
                  <a:srgbClr val="000000">
                    <a:lumMod val="65000"/>
                    <a:lumOff val="35000"/>
                  </a:srgbClr>
                </a:solidFill>
                <a:latin typeface="DIN-Medium" pitchFamily="34" charset="0"/>
                <a:cs typeface="+mn-cs"/>
              </a:rPr>
              <a:t>Düsseldorf</a:t>
            </a:r>
          </a:p>
        </p:txBody>
      </p:sp>
      <p:sp>
        <p:nvSpPr>
          <p:cNvPr id="100" name="Text Erfurt"/>
          <p:cNvSpPr txBox="1">
            <a:spLocks noChangeArrowheads="1"/>
          </p:cNvSpPr>
          <p:nvPr/>
        </p:nvSpPr>
        <p:spPr bwMode="auto">
          <a:xfrm>
            <a:off x="6681345" y="4217988"/>
            <a:ext cx="420688" cy="2159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eaLnBrk="0" fontAlgn="auto" hangingPunc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de-DE" sz="800" kern="0" noProof="1">
                <a:solidFill>
                  <a:srgbClr val="000000">
                    <a:lumMod val="65000"/>
                    <a:lumOff val="35000"/>
                  </a:srgbClr>
                </a:solidFill>
                <a:latin typeface="DIN-Medium" pitchFamily="34" charset="0"/>
                <a:cs typeface="+mn-cs"/>
              </a:rPr>
              <a:t>Erfurt</a:t>
            </a:r>
          </a:p>
        </p:txBody>
      </p:sp>
      <p:sp>
        <p:nvSpPr>
          <p:cNvPr id="101" name="Text Dresden"/>
          <p:cNvSpPr txBox="1">
            <a:spLocks noChangeArrowheads="1"/>
          </p:cNvSpPr>
          <p:nvPr/>
        </p:nvSpPr>
        <p:spPr bwMode="auto">
          <a:xfrm>
            <a:off x="7371908" y="4205288"/>
            <a:ext cx="527050" cy="2159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eaLnBrk="0" fontAlgn="auto" hangingPunc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de-DE" sz="800" kern="0" noProof="1">
                <a:solidFill>
                  <a:srgbClr val="000000">
                    <a:lumMod val="65000"/>
                    <a:lumOff val="35000"/>
                  </a:srgbClr>
                </a:solidFill>
                <a:latin typeface="DIN-Medium" pitchFamily="34" charset="0"/>
                <a:cs typeface="+mn-cs"/>
              </a:rPr>
              <a:t>Dresden</a:t>
            </a:r>
          </a:p>
        </p:txBody>
      </p:sp>
      <p:sp>
        <p:nvSpPr>
          <p:cNvPr id="102" name="Text Magdeburg"/>
          <p:cNvSpPr txBox="1">
            <a:spLocks noChangeArrowheads="1"/>
          </p:cNvSpPr>
          <p:nvPr/>
        </p:nvSpPr>
        <p:spPr bwMode="auto">
          <a:xfrm>
            <a:off x="6509895" y="3536950"/>
            <a:ext cx="647700" cy="2159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eaLnBrk="0" fontAlgn="auto" hangingPunc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de-DE" sz="800" kern="0" noProof="1">
                <a:solidFill>
                  <a:srgbClr val="000000">
                    <a:lumMod val="65000"/>
                    <a:lumOff val="35000"/>
                  </a:srgbClr>
                </a:solidFill>
                <a:latin typeface="DIN-Medium" pitchFamily="34" charset="0"/>
                <a:cs typeface="+mn-cs"/>
              </a:rPr>
              <a:t>Magdeburg</a:t>
            </a:r>
          </a:p>
        </p:txBody>
      </p:sp>
      <p:sp>
        <p:nvSpPr>
          <p:cNvPr id="103" name="Text Berlin"/>
          <p:cNvSpPr txBox="1">
            <a:spLocks noChangeArrowheads="1"/>
          </p:cNvSpPr>
          <p:nvPr/>
        </p:nvSpPr>
        <p:spPr bwMode="auto">
          <a:xfrm>
            <a:off x="7332220" y="2871788"/>
            <a:ext cx="428625" cy="2159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eaLnBrk="0" fontAlgn="auto" hangingPunc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de-DE" sz="800" kern="0" noProof="1">
                <a:solidFill>
                  <a:srgbClr val="000000">
                    <a:lumMod val="65000"/>
                    <a:lumOff val="35000"/>
                  </a:srgbClr>
                </a:solidFill>
                <a:latin typeface="DIN-Medium" pitchFamily="34" charset="0"/>
                <a:cs typeface="+mn-cs"/>
              </a:rPr>
              <a:t>Berlin</a:t>
            </a:r>
          </a:p>
        </p:txBody>
      </p:sp>
      <p:sp>
        <p:nvSpPr>
          <p:cNvPr id="104" name="Text Hannover"/>
          <p:cNvSpPr txBox="1">
            <a:spLocks noChangeArrowheads="1"/>
          </p:cNvSpPr>
          <p:nvPr/>
        </p:nvSpPr>
        <p:spPr bwMode="auto">
          <a:xfrm>
            <a:off x="5943158" y="3098800"/>
            <a:ext cx="576262" cy="2159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eaLnBrk="0" fontAlgn="auto" hangingPunc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de-DE" sz="800" kern="0" noProof="1">
                <a:solidFill>
                  <a:srgbClr val="000000">
                    <a:lumMod val="65000"/>
                    <a:lumOff val="35000"/>
                  </a:srgbClr>
                </a:solidFill>
                <a:latin typeface="DIN-Medium" pitchFamily="34" charset="0"/>
                <a:cs typeface="+mn-cs"/>
              </a:rPr>
              <a:t>Hannover</a:t>
            </a:r>
          </a:p>
        </p:txBody>
      </p:sp>
      <p:sp>
        <p:nvSpPr>
          <p:cNvPr id="105" name="Text Bremen"/>
          <p:cNvSpPr txBox="1">
            <a:spLocks noChangeArrowheads="1"/>
          </p:cNvSpPr>
          <p:nvPr/>
        </p:nvSpPr>
        <p:spPr bwMode="auto">
          <a:xfrm>
            <a:off x="5262120" y="2890838"/>
            <a:ext cx="511175" cy="2159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eaLnBrk="0" fontAlgn="auto" hangingPunc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de-DE" sz="800" kern="0" noProof="1">
                <a:solidFill>
                  <a:srgbClr val="000000">
                    <a:lumMod val="65000"/>
                    <a:lumOff val="35000"/>
                  </a:srgbClr>
                </a:solidFill>
                <a:latin typeface="DIN-Medium" pitchFamily="34" charset="0"/>
                <a:cs typeface="+mn-cs"/>
              </a:rPr>
              <a:t>Bremen</a:t>
            </a:r>
          </a:p>
        </p:txBody>
      </p:sp>
      <p:sp>
        <p:nvSpPr>
          <p:cNvPr id="106" name="Text Hamburg"/>
          <p:cNvSpPr txBox="1">
            <a:spLocks noChangeArrowheads="1"/>
          </p:cNvSpPr>
          <p:nvPr/>
        </p:nvSpPr>
        <p:spPr bwMode="auto">
          <a:xfrm>
            <a:off x="5957445" y="2192338"/>
            <a:ext cx="566738" cy="2159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eaLnBrk="0" fontAlgn="auto" hangingPunc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de-DE" sz="800" kern="0" noProof="1">
                <a:solidFill>
                  <a:srgbClr val="000000">
                    <a:lumMod val="65000"/>
                    <a:lumOff val="35000"/>
                  </a:srgbClr>
                </a:solidFill>
                <a:latin typeface="DIN-Medium" pitchFamily="34" charset="0"/>
                <a:cs typeface="+mn-cs"/>
              </a:rPr>
              <a:t>Hamburg</a:t>
            </a:r>
          </a:p>
        </p:txBody>
      </p:sp>
      <p:sp>
        <p:nvSpPr>
          <p:cNvPr id="107" name="Text Rostock"/>
          <p:cNvSpPr txBox="1">
            <a:spLocks noChangeArrowheads="1"/>
          </p:cNvSpPr>
          <p:nvPr/>
        </p:nvSpPr>
        <p:spPr bwMode="auto">
          <a:xfrm>
            <a:off x="6797233" y="2303463"/>
            <a:ext cx="508000" cy="2159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eaLnBrk="0" fontAlgn="auto" hangingPunc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de-DE" sz="800" kern="0" noProof="1">
                <a:solidFill>
                  <a:srgbClr val="000000">
                    <a:lumMod val="65000"/>
                    <a:lumOff val="35000"/>
                  </a:srgbClr>
                </a:solidFill>
                <a:latin typeface="DIN-Medium" pitchFamily="34" charset="0"/>
                <a:cs typeface="+mn-cs"/>
              </a:rPr>
              <a:t>Rostock</a:t>
            </a:r>
          </a:p>
        </p:txBody>
      </p:sp>
      <p:sp>
        <p:nvSpPr>
          <p:cNvPr id="108" name="Text Box 170"/>
          <p:cNvSpPr txBox="1">
            <a:spLocks noChangeArrowheads="1"/>
          </p:cNvSpPr>
          <p:nvPr/>
        </p:nvSpPr>
        <p:spPr bwMode="auto">
          <a:xfrm>
            <a:off x="5049395" y="4864100"/>
            <a:ext cx="417513" cy="2159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eaLnBrk="0" fontAlgn="auto" hangingPunc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de-DE" sz="800" kern="0" noProof="1">
                <a:solidFill>
                  <a:srgbClr val="000000">
                    <a:lumMod val="65000"/>
                    <a:lumOff val="35000"/>
                  </a:srgbClr>
                </a:solidFill>
                <a:latin typeface="DIN-Medium" pitchFamily="34" charset="0"/>
                <a:cs typeface="+mn-cs"/>
              </a:rPr>
              <a:t>Mainz</a:t>
            </a:r>
          </a:p>
        </p:txBody>
      </p:sp>
      <p:sp>
        <p:nvSpPr>
          <p:cNvPr id="109" name="Rechteck 97"/>
          <p:cNvSpPr>
            <a:spLocks noChangeAspect="1"/>
          </p:cNvSpPr>
          <p:nvPr/>
        </p:nvSpPr>
        <p:spPr bwMode="auto">
          <a:xfrm>
            <a:off x="6986145" y="2193925"/>
            <a:ext cx="65088" cy="71438"/>
          </a:xfrm>
          <a:prstGeom prst="rect">
            <a:avLst/>
          </a:prstGeom>
          <a:solidFill>
            <a:srgbClr val="000099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36000" tIns="0" bIns="0" anchor="b">
            <a:spAutoFit/>
          </a:bodyPr>
          <a:lstStyle/>
          <a:p>
            <a:pPr eaLnBrk="0" hangingPunct="0">
              <a:lnSpc>
                <a:spcPct val="110000"/>
              </a:lnSpc>
              <a:spcBef>
                <a:spcPct val="50000"/>
              </a:spcBef>
            </a:pPr>
            <a:endParaRPr lang="en-US" sz="1600" smtClean="0">
              <a:latin typeface="DIN-Medium" pitchFamily="34" charset="0"/>
              <a:cs typeface="+mn-cs"/>
            </a:endParaRPr>
          </a:p>
        </p:txBody>
      </p:sp>
      <p:sp>
        <p:nvSpPr>
          <p:cNvPr id="110" name="Rechteck 98"/>
          <p:cNvSpPr>
            <a:spLocks noChangeAspect="1"/>
          </p:cNvSpPr>
          <p:nvPr/>
        </p:nvSpPr>
        <p:spPr bwMode="auto">
          <a:xfrm>
            <a:off x="7583045" y="3176588"/>
            <a:ext cx="65088" cy="71437"/>
          </a:xfrm>
          <a:prstGeom prst="rect">
            <a:avLst/>
          </a:prstGeom>
          <a:solidFill>
            <a:srgbClr val="000099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36000" tIns="0" bIns="0" anchor="b">
            <a:spAutoFit/>
          </a:bodyPr>
          <a:lstStyle/>
          <a:p>
            <a:pPr eaLnBrk="0" hangingPunct="0">
              <a:lnSpc>
                <a:spcPct val="110000"/>
              </a:lnSpc>
              <a:spcBef>
                <a:spcPct val="50000"/>
              </a:spcBef>
            </a:pPr>
            <a:endParaRPr lang="en-US" sz="1600" smtClean="0">
              <a:latin typeface="DIN-Medium" pitchFamily="34" charset="0"/>
              <a:cs typeface="+mn-cs"/>
            </a:endParaRPr>
          </a:p>
        </p:txBody>
      </p:sp>
      <p:sp>
        <p:nvSpPr>
          <p:cNvPr id="111" name="Rechteck 99"/>
          <p:cNvSpPr>
            <a:spLocks noChangeAspect="1"/>
          </p:cNvSpPr>
          <p:nvPr/>
        </p:nvSpPr>
        <p:spPr bwMode="auto">
          <a:xfrm>
            <a:off x="7743383" y="4110038"/>
            <a:ext cx="68262" cy="71437"/>
          </a:xfrm>
          <a:prstGeom prst="rect">
            <a:avLst/>
          </a:prstGeom>
          <a:solidFill>
            <a:srgbClr val="000099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36000" tIns="0" bIns="0" anchor="b">
            <a:spAutoFit/>
          </a:bodyPr>
          <a:lstStyle/>
          <a:p>
            <a:pPr eaLnBrk="0" hangingPunct="0">
              <a:lnSpc>
                <a:spcPct val="110000"/>
              </a:lnSpc>
              <a:spcBef>
                <a:spcPct val="50000"/>
              </a:spcBef>
            </a:pPr>
            <a:endParaRPr lang="en-US" sz="1600" smtClean="0">
              <a:latin typeface="DIN-Medium" pitchFamily="34" charset="0"/>
              <a:cs typeface="+mn-cs"/>
            </a:endParaRPr>
          </a:p>
        </p:txBody>
      </p:sp>
      <p:sp>
        <p:nvSpPr>
          <p:cNvPr id="112" name="Rechteck 100"/>
          <p:cNvSpPr>
            <a:spLocks noChangeAspect="1"/>
          </p:cNvSpPr>
          <p:nvPr/>
        </p:nvSpPr>
        <p:spPr bwMode="auto">
          <a:xfrm>
            <a:off x="6309870" y="2509838"/>
            <a:ext cx="66675" cy="71437"/>
          </a:xfrm>
          <a:prstGeom prst="rect">
            <a:avLst/>
          </a:prstGeom>
          <a:solidFill>
            <a:srgbClr val="000099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36000" tIns="0" bIns="0" anchor="b">
            <a:spAutoFit/>
          </a:bodyPr>
          <a:lstStyle/>
          <a:p>
            <a:pPr eaLnBrk="0" hangingPunct="0">
              <a:lnSpc>
                <a:spcPct val="110000"/>
              </a:lnSpc>
              <a:spcBef>
                <a:spcPct val="50000"/>
              </a:spcBef>
            </a:pPr>
            <a:endParaRPr lang="en-US" sz="1600" smtClean="0">
              <a:latin typeface="DIN-Medium" pitchFamily="34" charset="0"/>
              <a:cs typeface="+mn-cs"/>
            </a:endParaRPr>
          </a:p>
        </p:txBody>
      </p:sp>
      <p:sp>
        <p:nvSpPr>
          <p:cNvPr id="113" name="Rechteck 101"/>
          <p:cNvSpPr>
            <a:spLocks noChangeAspect="1"/>
          </p:cNvSpPr>
          <p:nvPr/>
        </p:nvSpPr>
        <p:spPr bwMode="auto">
          <a:xfrm>
            <a:off x="5832033" y="2833688"/>
            <a:ext cx="66675" cy="71437"/>
          </a:xfrm>
          <a:prstGeom prst="rect">
            <a:avLst/>
          </a:prstGeom>
          <a:solidFill>
            <a:srgbClr val="000099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36000" tIns="0" bIns="0" anchor="b">
            <a:spAutoFit/>
          </a:bodyPr>
          <a:lstStyle/>
          <a:p>
            <a:pPr eaLnBrk="0" hangingPunct="0">
              <a:lnSpc>
                <a:spcPct val="110000"/>
              </a:lnSpc>
              <a:spcBef>
                <a:spcPct val="50000"/>
              </a:spcBef>
            </a:pPr>
            <a:endParaRPr lang="en-US" sz="1600" smtClean="0">
              <a:latin typeface="DIN-Medium" pitchFamily="34" charset="0"/>
              <a:cs typeface="+mn-cs"/>
            </a:endParaRPr>
          </a:p>
        </p:txBody>
      </p:sp>
      <p:sp>
        <p:nvSpPr>
          <p:cNvPr id="114" name="Rechteck 102"/>
          <p:cNvSpPr>
            <a:spLocks noChangeAspect="1"/>
          </p:cNvSpPr>
          <p:nvPr/>
        </p:nvSpPr>
        <p:spPr bwMode="auto">
          <a:xfrm>
            <a:off x="6211445" y="3405188"/>
            <a:ext cx="66675" cy="71437"/>
          </a:xfrm>
          <a:prstGeom prst="rect">
            <a:avLst/>
          </a:prstGeom>
          <a:solidFill>
            <a:srgbClr val="000099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36000" tIns="0" bIns="0" anchor="b">
            <a:spAutoFit/>
          </a:bodyPr>
          <a:lstStyle/>
          <a:p>
            <a:pPr eaLnBrk="0" hangingPunct="0">
              <a:lnSpc>
                <a:spcPct val="110000"/>
              </a:lnSpc>
              <a:spcBef>
                <a:spcPct val="50000"/>
              </a:spcBef>
            </a:pPr>
            <a:endParaRPr lang="en-US" sz="1600" smtClean="0">
              <a:latin typeface="DIN-Medium" pitchFamily="34" charset="0"/>
              <a:cs typeface="+mn-cs"/>
            </a:endParaRPr>
          </a:p>
        </p:txBody>
      </p:sp>
      <p:sp>
        <p:nvSpPr>
          <p:cNvPr id="115" name="Rechteck 103"/>
          <p:cNvSpPr>
            <a:spLocks noChangeAspect="1"/>
          </p:cNvSpPr>
          <p:nvPr/>
        </p:nvSpPr>
        <p:spPr bwMode="auto">
          <a:xfrm>
            <a:off x="6897245" y="3440113"/>
            <a:ext cx="66675" cy="71437"/>
          </a:xfrm>
          <a:prstGeom prst="rect">
            <a:avLst/>
          </a:prstGeom>
          <a:solidFill>
            <a:srgbClr val="000099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36000" tIns="0" bIns="0" anchor="b">
            <a:spAutoFit/>
          </a:bodyPr>
          <a:lstStyle/>
          <a:p>
            <a:pPr eaLnBrk="0" hangingPunct="0">
              <a:lnSpc>
                <a:spcPct val="110000"/>
              </a:lnSpc>
              <a:spcBef>
                <a:spcPct val="50000"/>
              </a:spcBef>
            </a:pPr>
            <a:endParaRPr lang="en-US" sz="1600" smtClean="0">
              <a:latin typeface="DIN-Medium" pitchFamily="34" charset="0"/>
              <a:cs typeface="+mn-cs"/>
            </a:endParaRPr>
          </a:p>
        </p:txBody>
      </p:sp>
      <p:sp>
        <p:nvSpPr>
          <p:cNvPr id="116" name="Rechteck 104"/>
          <p:cNvSpPr>
            <a:spLocks noChangeAspect="1"/>
          </p:cNvSpPr>
          <p:nvPr/>
        </p:nvSpPr>
        <p:spPr bwMode="auto">
          <a:xfrm>
            <a:off x="6616258" y="4316413"/>
            <a:ext cx="66675" cy="71437"/>
          </a:xfrm>
          <a:prstGeom prst="rect">
            <a:avLst/>
          </a:prstGeom>
          <a:solidFill>
            <a:srgbClr val="000099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36000" tIns="0" bIns="0" anchor="b">
            <a:spAutoFit/>
          </a:bodyPr>
          <a:lstStyle/>
          <a:p>
            <a:pPr eaLnBrk="0" hangingPunct="0">
              <a:lnSpc>
                <a:spcPct val="110000"/>
              </a:lnSpc>
              <a:spcBef>
                <a:spcPct val="50000"/>
              </a:spcBef>
            </a:pPr>
            <a:endParaRPr lang="en-US" sz="1600" smtClean="0">
              <a:latin typeface="DIN-Medium" pitchFamily="34" charset="0"/>
              <a:cs typeface="+mn-cs"/>
            </a:endParaRPr>
          </a:p>
        </p:txBody>
      </p:sp>
      <p:sp>
        <p:nvSpPr>
          <p:cNvPr id="117" name="Rechteck 105"/>
          <p:cNvSpPr>
            <a:spLocks noChangeAspect="1"/>
          </p:cNvSpPr>
          <p:nvPr/>
        </p:nvSpPr>
        <p:spPr bwMode="auto">
          <a:xfrm>
            <a:off x="5727258" y="4730750"/>
            <a:ext cx="65087" cy="73025"/>
          </a:xfrm>
          <a:prstGeom prst="rect">
            <a:avLst/>
          </a:prstGeom>
          <a:solidFill>
            <a:srgbClr val="000099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36000" tIns="0" bIns="0" anchor="b">
            <a:spAutoFit/>
          </a:bodyPr>
          <a:lstStyle/>
          <a:p>
            <a:pPr eaLnBrk="0" hangingPunct="0">
              <a:lnSpc>
                <a:spcPct val="110000"/>
              </a:lnSpc>
              <a:spcBef>
                <a:spcPct val="50000"/>
              </a:spcBef>
            </a:pPr>
            <a:endParaRPr lang="en-US" sz="1600" smtClean="0">
              <a:latin typeface="DIN-Medium" pitchFamily="34" charset="0"/>
              <a:cs typeface="+mn-cs"/>
            </a:endParaRPr>
          </a:p>
        </p:txBody>
      </p:sp>
      <p:sp>
        <p:nvSpPr>
          <p:cNvPr id="118" name="Rechteck 106"/>
          <p:cNvSpPr>
            <a:spLocks noChangeAspect="1"/>
          </p:cNvSpPr>
          <p:nvPr/>
        </p:nvSpPr>
        <p:spPr bwMode="auto">
          <a:xfrm>
            <a:off x="5444683" y="4886325"/>
            <a:ext cx="65087" cy="71438"/>
          </a:xfrm>
          <a:prstGeom prst="rect">
            <a:avLst/>
          </a:prstGeom>
          <a:solidFill>
            <a:srgbClr val="000099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36000" tIns="0" bIns="0" anchor="b">
            <a:spAutoFit/>
          </a:bodyPr>
          <a:lstStyle/>
          <a:p>
            <a:pPr eaLnBrk="0" hangingPunct="0">
              <a:lnSpc>
                <a:spcPct val="110000"/>
              </a:lnSpc>
              <a:spcBef>
                <a:spcPct val="50000"/>
              </a:spcBef>
            </a:pPr>
            <a:endParaRPr lang="en-US" sz="1600" smtClean="0">
              <a:latin typeface="DIN-Medium" pitchFamily="34" charset="0"/>
              <a:cs typeface="+mn-cs"/>
            </a:endParaRPr>
          </a:p>
        </p:txBody>
      </p:sp>
      <p:sp>
        <p:nvSpPr>
          <p:cNvPr id="119" name="Rechteck 107"/>
          <p:cNvSpPr>
            <a:spLocks noChangeAspect="1"/>
          </p:cNvSpPr>
          <p:nvPr/>
        </p:nvSpPr>
        <p:spPr bwMode="auto">
          <a:xfrm>
            <a:off x="5047808" y="4025900"/>
            <a:ext cx="66675" cy="73025"/>
          </a:xfrm>
          <a:prstGeom prst="rect">
            <a:avLst/>
          </a:prstGeom>
          <a:solidFill>
            <a:srgbClr val="000099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36000" tIns="0" bIns="0" anchor="b">
            <a:spAutoFit/>
          </a:bodyPr>
          <a:lstStyle/>
          <a:p>
            <a:pPr eaLnBrk="0" hangingPunct="0">
              <a:lnSpc>
                <a:spcPct val="110000"/>
              </a:lnSpc>
              <a:spcBef>
                <a:spcPct val="50000"/>
              </a:spcBef>
            </a:pPr>
            <a:endParaRPr lang="en-US" sz="1600" smtClean="0">
              <a:latin typeface="DIN-Medium" pitchFamily="34" charset="0"/>
              <a:cs typeface="+mn-cs"/>
            </a:endParaRPr>
          </a:p>
        </p:txBody>
      </p:sp>
      <p:sp>
        <p:nvSpPr>
          <p:cNvPr id="120" name="Rechteck 108"/>
          <p:cNvSpPr>
            <a:spLocks noChangeAspect="1"/>
          </p:cNvSpPr>
          <p:nvPr/>
        </p:nvSpPr>
        <p:spPr bwMode="auto">
          <a:xfrm>
            <a:off x="6705158" y="5133975"/>
            <a:ext cx="65087" cy="71438"/>
          </a:xfrm>
          <a:prstGeom prst="rect">
            <a:avLst/>
          </a:prstGeom>
          <a:solidFill>
            <a:srgbClr val="000099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36000" tIns="0" bIns="0" anchor="b">
            <a:spAutoFit/>
          </a:bodyPr>
          <a:lstStyle/>
          <a:p>
            <a:pPr eaLnBrk="0" hangingPunct="0">
              <a:lnSpc>
                <a:spcPct val="110000"/>
              </a:lnSpc>
              <a:spcBef>
                <a:spcPct val="50000"/>
              </a:spcBef>
            </a:pPr>
            <a:endParaRPr lang="en-US" sz="1600" smtClean="0">
              <a:latin typeface="DIN-Medium" pitchFamily="34" charset="0"/>
              <a:cs typeface="+mn-cs"/>
            </a:endParaRPr>
          </a:p>
        </p:txBody>
      </p:sp>
      <p:sp>
        <p:nvSpPr>
          <p:cNvPr id="121" name="Rechteck 109"/>
          <p:cNvSpPr>
            <a:spLocks noChangeAspect="1"/>
          </p:cNvSpPr>
          <p:nvPr/>
        </p:nvSpPr>
        <p:spPr bwMode="auto">
          <a:xfrm>
            <a:off x="5947920" y="5607050"/>
            <a:ext cx="66675" cy="73025"/>
          </a:xfrm>
          <a:prstGeom prst="rect">
            <a:avLst/>
          </a:prstGeom>
          <a:solidFill>
            <a:srgbClr val="000099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36000" tIns="0" bIns="0" anchor="b">
            <a:spAutoFit/>
          </a:bodyPr>
          <a:lstStyle/>
          <a:p>
            <a:pPr eaLnBrk="0" hangingPunct="0">
              <a:lnSpc>
                <a:spcPct val="110000"/>
              </a:lnSpc>
              <a:spcBef>
                <a:spcPct val="50000"/>
              </a:spcBef>
            </a:pPr>
            <a:endParaRPr lang="en-US" sz="1600" smtClean="0">
              <a:latin typeface="DIN-Medium" pitchFamily="34" charset="0"/>
              <a:cs typeface="+mn-cs"/>
            </a:endParaRPr>
          </a:p>
        </p:txBody>
      </p:sp>
      <p:sp>
        <p:nvSpPr>
          <p:cNvPr id="122" name="Rechteck 110"/>
          <p:cNvSpPr>
            <a:spLocks noChangeAspect="1"/>
          </p:cNvSpPr>
          <p:nvPr/>
        </p:nvSpPr>
        <p:spPr bwMode="auto">
          <a:xfrm>
            <a:off x="7029008" y="6034088"/>
            <a:ext cx="65087" cy="71437"/>
          </a:xfrm>
          <a:prstGeom prst="rect">
            <a:avLst/>
          </a:prstGeom>
          <a:solidFill>
            <a:srgbClr val="000099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36000" tIns="0" bIns="0" anchor="b">
            <a:spAutoFit/>
          </a:bodyPr>
          <a:lstStyle/>
          <a:p>
            <a:pPr eaLnBrk="0" hangingPunct="0">
              <a:lnSpc>
                <a:spcPct val="110000"/>
              </a:lnSpc>
              <a:spcBef>
                <a:spcPct val="50000"/>
              </a:spcBef>
            </a:pPr>
            <a:endParaRPr lang="en-US" sz="1600" smtClean="0">
              <a:latin typeface="DIN-Medium" pitchFamily="34" charset="0"/>
              <a:cs typeface="+mn-cs"/>
            </a:endParaRPr>
          </a:p>
        </p:txBody>
      </p:sp>
      <p:sp>
        <p:nvSpPr>
          <p:cNvPr id="123" name="Rechteck 111"/>
          <p:cNvSpPr>
            <a:spLocks noChangeAspect="1"/>
          </p:cNvSpPr>
          <p:nvPr/>
        </p:nvSpPr>
        <p:spPr bwMode="auto">
          <a:xfrm>
            <a:off x="5603433" y="5565775"/>
            <a:ext cx="66675" cy="71438"/>
          </a:xfrm>
          <a:prstGeom prst="rect">
            <a:avLst/>
          </a:prstGeom>
          <a:solidFill>
            <a:srgbClr val="000099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36000" tIns="0" bIns="0" anchor="b">
            <a:spAutoFit/>
          </a:bodyPr>
          <a:lstStyle/>
          <a:p>
            <a:pPr eaLnBrk="0" hangingPunct="0">
              <a:lnSpc>
                <a:spcPct val="110000"/>
              </a:lnSpc>
              <a:spcBef>
                <a:spcPct val="50000"/>
              </a:spcBef>
            </a:pPr>
            <a:endParaRPr lang="en-US" sz="1600" smtClean="0">
              <a:latin typeface="DIN-Medium" pitchFamily="34" charset="0"/>
              <a:cs typeface="+mn-cs"/>
            </a:endParaRPr>
          </a:p>
        </p:txBody>
      </p:sp>
      <p:sp>
        <p:nvSpPr>
          <p:cNvPr id="124" name="Text Stuttgart"/>
          <p:cNvSpPr txBox="1">
            <a:spLocks noChangeArrowheads="1"/>
          </p:cNvSpPr>
          <p:nvPr/>
        </p:nvSpPr>
        <p:spPr bwMode="auto">
          <a:xfrm>
            <a:off x="5481195" y="5710238"/>
            <a:ext cx="595313" cy="2159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eaLnBrk="0" fontAlgn="auto" hangingPunc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de-DE" sz="800" kern="0" noProof="1">
                <a:solidFill>
                  <a:srgbClr val="000000">
                    <a:lumMod val="65000"/>
                    <a:lumOff val="35000"/>
                  </a:srgbClr>
                </a:solidFill>
                <a:latin typeface="DIN-Medium" pitchFamily="34" charset="0"/>
                <a:cs typeface="+mn-cs"/>
              </a:rPr>
              <a:t>Karlsruhe</a:t>
            </a:r>
          </a:p>
        </p:txBody>
      </p:sp>
      <p:sp>
        <p:nvSpPr>
          <p:cNvPr id="125" name="Ellipse 114"/>
          <p:cNvSpPr>
            <a:spLocks noChangeArrowheads="1"/>
          </p:cNvSpPr>
          <p:nvPr/>
        </p:nvSpPr>
        <p:spPr bwMode="auto">
          <a:xfrm>
            <a:off x="5476433" y="5392738"/>
            <a:ext cx="152400" cy="149225"/>
          </a:xfrm>
          <a:prstGeom prst="ellipse">
            <a:avLst/>
          </a:prstGeom>
          <a:solidFill>
            <a:srgbClr val="FF9900"/>
          </a:solidFill>
          <a:ln w="9525" algn="ctr">
            <a:solidFill>
              <a:schemeClr val="tx1"/>
            </a:solidFill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36000" tIns="0" bIns="0" anchor="b">
            <a:spAutoFit/>
          </a:bodyPr>
          <a:lstStyle/>
          <a:p>
            <a:pPr eaLnBrk="0" hangingPunct="0">
              <a:lnSpc>
                <a:spcPct val="110000"/>
              </a:lnSpc>
              <a:spcBef>
                <a:spcPct val="50000"/>
              </a:spcBef>
              <a:defRPr/>
            </a:pPr>
            <a:endParaRPr lang="de-DE" sz="1600">
              <a:latin typeface="DIN-Medium" pitchFamily="34" charset="0"/>
              <a:cs typeface="+mn-cs"/>
            </a:endParaRPr>
          </a:p>
        </p:txBody>
      </p:sp>
      <p:sp>
        <p:nvSpPr>
          <p:cNvPr id="126" name="Ellipse 115"/>
          <p:cNvSpPr>
            <a:spLocks noChangeArrowheads="1"/>
          </p:cNvSpPr>
          <p:nvPr/>
        </p:nvSpPr>
        <p:spPr bwMode="auto">
          <a:xfrm>
            <a:off x="5403408" y="5592763"/>
            <a:ext cx="150812" cy="149225"/>
          </a:xfrm>
          <a:prstGeom prst="ellipse">
            <a:avLst/>
          </a:prstGeom>
          <a:solidFill>
            <a:srgbClr val="FF9900"/>
          </a:solidFill>
          <a:ln w="9525" algn="ctr">
            <a:solidFill>
              <a:schemeClr val="tx1"/>
            </a:solidFill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36000" tIns="0" bIns="0" anchor="b">
            <a:spAutoFit/>
          </a:bodyPr>
          <a:lstStyle/>
          <a:p>
            <a:pPr eaLnBrk="0" hangingPunct="0">
              <a:lnSpc>
                <a:spcPct val="110000"/>
              </a:lnSpc>
              <a:spcBef>
                <a:spcPct val="50000"/>
              </a:spcBef>
              <a:defRPr/>
            </a:pPr>
            <a:endParaRPr lang="de-DE" sz="1600">
              <a:latin typeface="DIN-Medium" pitchFamily="34" charset="0"/>
              <a:cs typeface="+mn-cs"/>
            </a:endParaRPr>
          </a:p>
        </p:txBody>
      </p:sp>
      <p:sp>
        <p:nvSpPr>
          <p:cNvPr id="127" name="Ellipse 117"/>
          <p:cNvSpPr>
            <a:spLocks noChangeArrowheads="1"/>
          </p:cNvSpPr>
          <p:nvPr/>
        </p:nvSpPr>
        <p:spPr bwMode="auto">
          <a:xfrm>
            <a:off x="6662295" y="2566988"/>
            <a:ext cx="150813" cy="150812"/>
          </a:xfrm>
          <a:prstGeom prst="ellipse">
            <a:avLst/>
          </a:prstGeom>
          <a:solidFill>
            <a:srgbClr val="FF9900"/>
          </a:solidFill>
          <a:ln w="9525" algn="ctr">
            <a:solidFill>
              <a:schemeClr val="tx1"/>
            </a:solidFill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36000" tIns="0" bIns="0" anchor="b">
            <a:spAutoFit/>
          </a:bodyPr>
          <a:lstStyle/>
          <a:p>
            <a:pPr eaLnBrk="0" hangingPunct="0">
              <a:lnSpc>
                <a:spcPct val="110000"/>
              </a:lnSpc>
              <a:spcBef>
                <a:spcPct val="50000"/>
              </a:spcBef>
              <a:defRPr/>
            </a:pPr>
            <a:endParaRPr lang="de-DE" sz="1600">
              <a:latin typeface="DIN-Medium" pitchFamily="34" charset="0"/>
              <a:cs typeface="+mn-cs"/>
            </a:endParaRPr>
          </a:p>
        </p:txBody>
      </p:sp>
      <p:sp>
        <p:nvSpPr>
          <p:cNvPr id="128" name="Ellipse 118"/>
          <p:cNvSpPr>
            <a:spLocks noChangeArrowheads="1"/>
          </p:cNvSpPr>
          <p:nvPr/>
        </p:nvSpPr>
        <p:spPr bwMode="auto">
          <a:xfrm>
            <a:off x="7476683" y="5964238"/>
            <a:ext cx="150812" cy="150812"/>
          </a:xfrm>
          <a:prstGeom prst="ellipse">
            <a:avLst/>
          </a:prstGeom>
          <a:solidFill>
            <a:srgbClr val="FF9900"/>
          </a:solidFill>
          <a:ln w="9525" algn="ctr">
            <a:solidFill>
              <a:schemeClr val="tx1"/>
            </a:solidFill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36000" tIns="0" bIns="0" anchor="b">
            <a:spAutoFit/>
          </a:bodyPr>
          <a:lstStyle/>
          <a:p>
            <a:pPr eaLnBrk="0" hangingPunct="0">
              <a:lnSpc>
                <a:spcPct val="110000"/>
              </a:lnSpc>
              <a:spcBef>
                <a:spcPct val="50000"/>
              </a:spcBef>
              <a:defRPr/>
            </a:pPr>
            <a:endParaRPr lang="de-DE" sz="1600">
              <a:latin typeface="DIN-Medium" pitchFamily="34" charset="0"/>
              <a:cs typeface="+mn-cs"/>
            </a:endParaRPr>
          </a:p>
        </p:txBody>
      </p:sp>
      <p:sp>
        <p:nvSpPr>
          <p:cNvPr id="129" name="Ellipse 116"/>
          <p:cNvSpPr>
            <a:spLocks noChangeArrowheads="1"/>
          </p:cNvSpPr>
          <p:nvPr/>
        </p:nvSpPr>
        <p:spPr bwMode="auto">
          <a:xfrm>
            <a:off x="6894070" y="6105525"/>
            <a:ext cx="152400" cy="149225"/>
          </a:xfrm>
          <a:prstGeom prst="ellipse">
            <a:avLst/>
          </a:prstGeom>
          <a:solidFill>
            <a:srgbClr val="686868"/>
          </a:solidFill>
          <a:ln w="9525" algn="ctr">
            <a:solidFill>
              <a:schemeClr val="tx1"/>
            </a:solidFill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36000" tIns="0" bIns="0" anchor="b">
            <a:spAutoFit/>
          </a:bodyPr>
          <a:lstStyle/>
          <a:p>
            <a:pPr eaLnBrk="0" hangingPunct="0">
              <a:lnSpc>
                <a:spcPct val="110000"/>
              </a:lnSpc>
              <a:spcBef>
                <a:spcPct val="50000"/>
              </a:spcBef>
              <a:defRPr/>
            </a:pPr>
            <a:endParaRPr lang="de-DE" sz="1600">
              <a:latin typeface="DIN-Medium" pitchFamily="34" charset="0"/>
              <a:cs typeface="+mn-cs"/>
            </a:endParaRPr>
          </a:p>
        </p:txBody>
      </p:sp>
      <p:sp>
        <p:nvSpPr>
          <p:cNvPr id="130" name="Ellipse 116"/>
          <p:cNvSpPr>
            <a:spLocks noChangeArrowheads="1"/>
          </p:cNvSpPr>
          <p:nvPr/>
        </p:nvSpPr>
        <p:spPr bwMode="auto">
          <a:xfrm>
            <a:off x="6817870" y="6176963"/>
            <a:ext cx="152400" cy="149225"/>
          </a:xfrm>
          <a:prstGeom prst="ellipse">
            <a:avLst/>
          </a:prstGeom>
          <a:solidFill>
            <a:srgbClr val="686868"/>
          </a:solidFill>
          <a:ln w="9525" algn="ctr">
            <a:solidFill>
              <a:schemeClr val="tx1"/>
            </a:solidFill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36000" tIns="0" bIns="0" anchor="b">
            <a:spAutoFit/>
          </a:bodyPr>
          <a:lstStyle/>
          <a:p>
            <a:pPr eaLnBrk="0" hangingPunct="0">
              <a:lnSpc>
                <a:spcPct val="110000"/>
              </a:lnSpc>
              <a:spcBef>
                <a:spcPct val="50000"/>
              </a:spcBef>
              <a:defRPr/>
            </a:pPr>
            <a:endParaRPr lang="de-DE" sz="1600">
              <a:latin typeface="DIN-Medium" pitchFamily="34" charset="0"/>
              <a:cs typeface="+mn-cs"/>
            </a:endParaRPr>
          </a:p>
        </p:txBody>
      </p:sp>
      <p:sp>
        <p:nvSpPr>
          <p:cNvPr id="131" name="Ellipse 116"/>
          <p:cNvSpPr>
            <a:spLocks noChangeArrowheads="1"/>
          </p:cNvSpPr>
          <p:nvPr/>
        </p:nvSpPr>
        <p:spPr bwMode="auto">
          <a:xfrm>
            <a:off x="6932170" y="6249988"/>
            <a:ext cx="152400" cy="149225"/>
          </a:xfrm>
          <a:prstGeom prst="ellipse">
            <a:avLst/>
          </a:prstGeom>
          <a:solidFill>
            <a:srgbClr val="686868"/>
          </a:solidFill>
          <a:ln w="9525" algn="ctr">
            <a:solidFill>
              <a:schemeClr val="tx1"/>
            </a:solidFill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36000" tIns="0" bIns="0" anchor="b">
            <a:spAutoFit/>
          </a:bodyPr>
          <a:lstStyle/>
          <a:p>
            <a:pPr eaLnBrk="0" hangingPunct="0">
              <a:lnSpc>
                <a:spcPct val="110000"/>
              </a:lnSpc>
              <a:spcBef>
                <a:spcPct val="50000"/>
              </a:spcBef>
              <a:defRPr/>
            </a:pPr>
            <a:endParaRPr lang="de-DE" sz="1600">
              <a:latin typeface="DIN-Medium" pitchFamily="34" charset="0"/>
              <a:cs typeface="+mn-cs"/>
            </a:endParaRPr>
          </a:p>
        </p:txBody>
      </p:sp>
      <p:sp>
        <p:nvSpPr>
          <p:cNvPr id="132" name="Ellipse 116"/>
          <p:cNvSpPr>
            <a:spLocks noChangeArrowheads="1"/>
          </p:cNvSpPr>
          <p:nvPr/>
        </p:nvSpPr>
        <p:spPr bwMode="auto">
          <a:xfrm>
            <a:off x="7024245" y="6108700"/>
            <a:ext cx="152400" cy="149225"/>
          </a:xfrm>
          <a:prstGeom prst="ellipse">
            <a:avLst/>
          </a:prstGeom>
          <a:solidFill>
            <a:srgbClr val="FF9900"/>
          </a:solidFill>
          <a:ln w="9525" algn="ctr">
            <a:solidFill>
              <a:schemeClr val="tx1"/>
            </a:solidFill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36000" tIns="0" bIns="0" anchor="b">
            <a:spAutoFit/>
          </a:bodyPr>
          <a:lstStyle/>
          <a:p>
            <a:pPr eaLnBrk="0" hangingPunct="0">
              <a:lnSpc>
                <a:spcPct val="110000"/>
              </a:lnSpc>
              <a:spcBef>
                <a:spcPct val="50000"/>
              </a:spcBef>
              <a:defRPr/>
            </a:pPr>
            <a:endParaRPr lang="de-DE" sz="1600">
              <a:latin typeface="DIN-Medium" pitchFamily="34" charset="0"/>
              <a:cs typeface="+mn-cs"/>
            </a:endParaRPr>
          </a:p>
        </p:txBody>
      </p:sp>
      <p:sp>
        <p:nvSpPr>
          <p:cNvPr id="133" name="Ellipse 116"/>
          <p:cNvSpPr>
            <a:spLocks noChangeArrowheads="1"/>
          </p:cNvSpPr>
          <p:nvPr/>
        </p:nvSpPr>
        <p:spPr bwMode="auto">
          <a:xfrm>
            <a:off x="5593908" y="5445125"/>
            <a:ext cx="152400" cy="149225"/>
          </a:xfrm>
          <a:prstGeom prst="ellipse">
            <a:avLst/>
          </a:prstGeom>
          <a:solidFill>
            <a:srgbClr val="FF9900"/>
          </a:solidFill>
          <a:ln w="9525" algn="ctr">
            <a:solidFill>
              <a:schemeClr val="tx1"/>
            </a:solidFill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36000" tIns="0" bIns="0" anchor="b">
            <a:spAutoFit/>
          </a:bodyPr>
          <a:lstStyle/>
          <a:p>
            <a:pPr eaLnBrk="0" hangingPunct="0">
              <a:lnSpc>
                <a:spcPct val="110000"/>
              </a:lnSpc>
              <a:spcBef>
                <a:spcPct val="50000"/>
              </a:spcBef>
              <a:defRPr/>
            </a:pPr>
            <a:endParaRPr lang="de-DE" sz="1600">
              <a:latin typeface="DIN-Medium" pitchFamily="34" charset="0"/>
              <a:cs typeface="+mn-cs"/>
            </a:endParaRPr>
          </a:p>
        </p:txBody>
      </p:sp>
      <p:sp>
        <p:nvSpPr>
          <p:cNvPr id="134" name="Ellipse 115"/>
          <p:cNvSpPr>
            <a:spLocks noChangeArrowheads="1"/>
          </p:cNvSpPr>
          <p:nvPr/>
        </p:nvSpPr>
        <p:spPr bwMode="auto">
          <a:xfrm>
            <a:off x="5671695" y="5468938"/>
            <a:ext cx="150813" cy="149225"/>
          </a:xfrm>
          <a:prstGeom prst="ellipse">
            <a:avLst/>
          </a:prstGeom>
          <a:solidFill>
            <a:srgbClr val="FF9900"/>
          </a:solidFill>
          <a:ln w="9525" algn="ctr">
            <a:solidFill>
              <a:schemeClr val="tx1"/>
            </a:solidFill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36000" tIns="0" bIns="0" anchor="b">
            <a:spAutoFit/>
          </a:bodyPr>
          <a:lstStyle/>
          <a:p>
            <a:pPr eaLnBrk="0" hangingPunct="0">
              <a:lnSpc>
                <a:spcPct val="110000"/>
              </a:lnSpc>
              <a:spcBef>
                <a:spcPct val="50000"/>
              </a:spcBef>
              <a:defRPr/>
            </a:pPr>
            <a:endParaRPr lang="de-DE" sz="1600">
              <a:latin typeface="DIN-Medium" pitchFamily="34" charset="0"/>
              <a:cs typeface="+mn-cs"/>
            </a:endParaRPr>
          </a:p>
        </p:txBody>
      </p:sp>
      <p:sp>
        <p:nvSpPr>
          <p:cNvPr id="135" name="Ellipse 116"/>
          <p:cNvSpPr>
            <a:spLocks noChangeArrowheads="1"/>
          </p:cNvSpPr>
          <p:nvPr/>
        </p:nvSpPr>
        <p:spPr bwMode="auto">
          <a:xfrm>
            <a:off x="7105208" y="6257925"/>
            <a:ext cx="152400" cy="149225"/>
          </a:xfrm>
          <a:prstGeom prst="ellipse">
            <a:avLst/>
          </a:prstGeom>
          <a:solidFill>
            <a:srgbClr val="686868"/>
          </a:solidFill>
          <a:ln w="9525" algn="ctr">
            <a:solidFill>
              <a:schemeClr val="tx1"/>
            </a:solidFill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36000" tIns="0" bIns="0" anchor="b">
            <a:spAutoFit/>
          </a:bodyPr>
          <a:lstStyle/>
          <a:p>
            <a:pPr eaLnBrk="0" hangingPunct="0">
              <a:lnSpc>
                <a:spcPct val="110000"/>
              </a:lnSpc>
              <a:spcBef>
                <a:spcPct val="50000"/>
              </a:spcBef>
              <a:defRPr/>
            </a:pPr>
            <a:endParaRPr lang="de-DE" sz="1600">
              <a:latin typeface="DIN-Medium" pitchFamily="34" charset="0"/>
              <a:cs typeface="+mn-cs"/>
            </a:endParaRPr>
          </a:p>
        </p:txBody>
      </p:sp>
      <p:sp>
        <p:nvSpPr>
          <p:cNvPr id="136" name="Ellipse 116"/>
          <p:cNvSpPr>
            <a:spLocks noChangeArrowheads="1"/>
          </p:cNvSpPr>
          <p:nvPr/>
        </p:nvSpPr>
        <p:spPr bwMode="auto">
          <a:xfrm>
            <a:off x="7105208" y="6199188"/>
            <a:ext cx="152400" cy="149225"/>
          </a:xfrm>
          <a:prstGeom prst="ellipse">
            <a:avLst/>
          </a:prstGeom>
          <a:solidFill>
            <a:srgbClr val="FF9900"/>
          </a:solidFill>
          <a:ln w="9525" algn="ctr">
            <a:solidFill>
              <a:schemeClr val="tx1"/>
            </a:solidFill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36000" tIns="0" bIns="0" anchor="b">
            <a:spAutoFit/>
          </a:bodyPr>
          <a:lstStyle/>
          <a:p>
            <a:pPr eaLnBrk="0" hangingPunct="0">
              <a:lnSpc>
                <a:spcPct val="110000"/>
              </a:lnSpc>
              <a:spcBef>
                <a:spcPct val="50000"/>
              </a:spcBef>
              <a:defRPr/>
            </a:pPr>
            <a:endParaRPr lang="de-DE" sz="1600">
              <a:latin typeface="DIN-Medium" pitchFamily="34" charset="0"/>
              <a:cs typeface="+mn-cs"/>
            </a:endParaRPr>
          </a:p>
        </p:txBody>
      </p:sp>
      <p:sp>
        <p:nvSpPr>
          <p:cNvPr id="137" name="Ellipse 116"/>
          <p:cNvSpPr>
            <a:spLocks noChangeArrowheads="1"/>
          </p:cNvSpPr>
          <p:nvPr/>
        </p:nvSpPr>
        <p:spPr bwMode="auto">
          <a:xfrm>
            <a:off x="6886133" y="6230938"/>
            <a:ext cx="152400" cy="149225"/>
          </a:xfrm>
          <a:prstGeom prst="ellipse">
            <a:avLst/>
          </a:prstGeom>
          <a:solidFill>
            <a:srgbClr val="686868"/>
          </a:solidFill>
          <a:ln w="9525" algn="ctr">
            <a:solidFill>
              <a:schemeClr val="tx1"/>
            </a:solidFill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36000" tIns="0" bIns="0" anchor="b">
            <a:spAutoFit/>
          </a:bodyPr>
          <a:lstStyle/>
          <a:p>
            <a:pPr eaLnBrk="0" hangingPunct="0">
              <a:lnSpc>
                <a:spcPct val="110000"/>
              </a:lnSpc>
              <a:spcBef>
                <a:spcPct val="50000"/>
              </a:spcBef>
              <a:defRPr/>
            </a:pPr>
            <a:endParaRPr lang="de-DE" sz="1600">
              <a:latin typeface="DIN-Medium" pitchFamily="34" charset="0"/>
              <a:cs typeface="+mn-cs"/>
            </a:endParaRPr>
          </a:p>
        </p:txBody>
      </p:sp>
      <p:sp>
        <p:nvSpPr>
          <p:cNvPr id="138" name="Text Box 10"/>
          <p:cNvSpPr txBox="1">
            <a:spLocks noChangeArrowheads="1"/>
          </p:cNvSpPr>
          <p:nvPr/>
        </p:nvSpPr>
        <p:spPr bwMode="auto">
          <a:xfrm>
            <a:off x="7400904" y="1634403"/>
            <a:ext cx="1707600" cy="236988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rgbClr val="909090"/>
            </a:prstShdw>
          </a:effectLst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36000" tIns="0" rIns="90000" bIns="0">
            <a:spAutoFit/>
          </a:bodyPr>
          <a:lstStyle>
            <a:lvl1pPr>
              <a:defRPr sz="1400">
                <a:solidFill>
                  <a:srgbClr val="000099"/>
                </a:solidFill>
                <a:latin typeface="DIN-Light" pitchFamily="34" charset="0"/>
              </a:defRPr>
            </a:lvl1pPr>
            <a:lvl2pPr marL="742950" indent="-285750">
              <a:defRPr sz="1400">
                <a:solidFill>
                  <a:srgbClr val="000099"/>
                </a:solidFill>
                <a:latin typeface="DIN-Light" pitchFamily="34" charset="0"/>
              </a:defRPr>
            </a:lvl2pPr>
            <a:lvl3pPr marL="1143000" indent="-228600">
              <a:defRPr sz="1400">
                <a:solidFill>
                  <a:srgbClr val="000099"/>
                </a:solidFill>
                <a:latin typeface="DIN-Light" pitchFamily="34" charset="0"/>
              </a:defRPr>
            </a:lvl3pPr>
            <a:lvl4pPr marL="1600200" indent="-228600">
              <a:defRPr sz="1400">
                <a:solidFill>
                  <a:srgbClr val="000099"/>
                </a:solidFill>
                <a:latin typeface="DIN-Light" pitchFamily="34" charset="0"/>
              </a:defRPr>
            </a:lvl4pPr>
            <a:lvl5pPr marL="2057400" indent="-228600">
              <a:defRPr sz="1400">
                <a:solidFill>
                  <a:srgbClr val="000099"/>
                </a:solidFill>
                <a:latin typeface="DIN-Light" pitchFamily="34" charset="0"/>
              </a:defRPr>
            </a:lvl5pPr>
            <a:lvl6pPr marL="25146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1400">
                <a:solidFill>
                  <a:srgbClr val="000099"/>
                </a:solidFill>
                <a:latin typeface="DIN-Light" pitchFamily="34" charset="0"/>
              </a:defRPr>
            </a:lvl6pPr>
            <a:lvl7pPr marL="29718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1400">
                <a:solidFill>
                  <a:srgbClr val="000099"/>
                </a:solidFill>
                <a:latin typeface="DIN-Light" pitchFamily="34" charset="0"/>
              </a:defRPr>
            </a:lvl7pPr>
            <a:lvl8pPr marL="34290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1400">
                <a:solidFill>
                  <a:srgbClr val="000099"/>
                </a:solidFill>
                <a:latin typeface="DIN-Light" pitchFamily="34" charset="0"/>
              </a:defRPr>
            </a:lvl8pPr>
            <a:lvl9pPr marL="38862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1400">
                <a:solidFill>
                  <a:srgbClr val="000099"/>
                </a:solidFill>
                <a:latin typeface="DIN-Light" pitchFamily="34" charset="0"/>
              </a:defRPr>
            </a:lvl9pPr>
          </a:lstStyle>
          <a:p>
            <a:pPr eaLnBrk="0" hangingPunct="0">
              <a:lnSpc>
                <a:spcPct val="110000"/>
              </a:lnSpc>
              <a:spcBef>
                <a:spcPct val="50000"/>
              </a:spcBef>
            </a:pPr>
            <a:r>
              <a:rPr lang="en-GB" dirty="0" smtClean="0">
                <a:solidFill>
                  <a:srgbClr val="5F5F5F"/>
                </a:solidFill>
                <a:cs typeface="+mn-cs"/>
              </a:rPr>
              <a:t>*under construction</a:t>
            </a:r>
          </a:p>
        </p:txBody>
      </p:sp>
      <p:sp>
        <p:nvSpPr>
          <p:cNvPr id="139" name="Text Box 11"/>
          <p:cNvSpPr txBox="1">
            <a:spLocks noChangeArrowheads="1"/>
          </p:cNvSpPr>
          <p:nvPr/>
        </p:nvSpPr>
        <p:spPr bwMode="auto">
          <a:xfrm>
            <a:off x="6392842" y="1650278"/>
            <a:ext cx="811212" cy="233362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rgbClr val="909090"/>
            </a:prstShdw>
          </a:effectLst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36000" tIns="0" rIns="90000" bIns="0">
            <a:spAutoFit/>
          </a:bodyPr>
          <a:lstStyle>
            <a:lvl1pPr>
              <a:defRPr sz="1400">
                <a:solidFill>
                  <a:srgbClr val="000099"/>
                </a:solidFill>
                <a:latin typeface="DIN-Light" pitchFamily="34" charset="0"/>
              </a:defRPr>
            </a:lvl1pPr>
            <a:lvl2pPr marL="742950" indent="-285750">
              <a:defRPr sz="1400">
                <a:solidFill>
                  <a:srgbClr val="000099"/>
                </a:solidFill>
                <a:latin typeface="DIN-Light" pitchFamily="34" charset="0"/>
              </a:defRPr>
            </a:lvl2pPr>
            <a:lvl3pPr marL="1143000" indent="-228600">
              <a:defRPr sz="1400">
                <a:solidFill>
                  <a:srgbClr val="000099"/>
                </a:solidFill>
                <a:latin typeface="DIN-Light" pitchFamily="34" charset="0"/>
              </a:defRPr>
            </a:lvl3pPr>
            <a:lvl4pPr marL="1600200" indent="-228600">
              <a:defRPr sz="1400">
                <a:solidFill>
                  <a:srgbClr val="000099"/>
                </a:solidFill>
                <a:latin typeface="DIN-Light" pitchFamily="34" charset="0"/>
              </a:defRPr>
            </a:lvl4pPr>
            <a:lvl5pPr marL="2057400" indent="-228600">
              <a:defRPr sz="1400">
                <a:solidFill>
                  <a:srgbClr val="000099"/>
                </a:solidFill>
                <a:latin typeface="DIN-Light" pitchFamily="34" charset="0"/>
              </a:defRPr>
            </a:lvl5pPr>
            <a:lvl6pPr marL="25146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1400">
                <a:solidFill>
                  <a:srgbClr val="000099"/>
                </a:solidFill>
                <a:latin typeface="DIN-Light" pitchFamily="34" charset="0"/>
              </a:defRPr>
            </a:lvl6pPr>
            <a:lvl7pPr marL="29718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1400">
                <a:solidFill>
                  <a:srgbClr val="000099"/>
                </a:solidFill>
                <a:latin typeface="DIN-Light" pitchFamily="34" charset="0"/>
              </a:defRPr>
            </a:lvl7pPr>
            <a:lvl8pPr marL="34290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1400">
                <a:solidFill>
                  <a:srgbClr val="000099"/>
                </a:solidFill>
                <a:latin typeface="DIN-Light" pitchFamily="34" charset="0"/>
              </a:defRPr>
            </a:lvl8pPr>
            <a:lvl9pPr marL="38862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1400">
                <a:solidFill>
                  <a:srgbClr val="000099"/>
                </a:solidFill>
                <a:latin typeface="DIN-Light" pitchFamily="34" charset="0"/>
              </a:defRPr>
            </a:lvl9pPr>
          </a:lstStyle>
          <a:p>
            <a:pPr eaLnBrk="0" hangingPunct="0">
              <a:lnSpc>
                <a:spcPct val="110000"/>
              </a:lnSpc>
              <a:spcBef>
                <a:spcPct val="50000"/>
              </a:spcBef>
            </a:pPr>
            <a:r>
              <a:rPr lang="en-GB" smtClean="0">
                <a:solidFill>
                  <a:srgbClr val="EC9B0A"/>
                </a:solidFill>
                <a:cs typeface="+mn-cs"/>
              </a:rPr>
              <a:t>*existing</a:t>
            </a:r>
          </a:p>
        </p:txBody>
      </p:sp>
      <p:sp>
        <p:nvSpPr>
          <p:cNvPr id="140" name="Ellipse 116"/>
          <p:cNvSpPr>
            <a:spLocks noChangeArrowheads="1"/>
          </p:cNvSpPr>
          <p:nvPr/>
        </p:nvSpPr>
        <p:spPr bwMode="auto">
          <a:xfrm>
            <a:off x="7438302" y="5747031"/>
            <a:ext cx="152400" cy="149225"/>
          </a:xfrm>
          <a:prstGeom prst="ellipse">
            <a:avLst/>
          </a:prstGeom>
          <a:solidFill>
            <a:srgbClr val="686868"/>
          </a:solidFill>
          <a:ln w="9525" algn="ctr">
            <a:solidFill>
              <a:schemeClr val="tx1"/>
            </a:solidFill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36000" tIns="0" bIns="0" anchor="b">
            <a:spAutoFit/>
          </a:bodyPr>
          <a:lstStyle/>
          <a:p>
            <a:pPr eaLnBrk="0" hangingPunct="0">
              <a:lnSpc>
                <a:spcPct val="110000"/>
              </a:lnSpc>
              <a:spcBef>
                <a:spcPct val="50000"/>
              </a:spcBef>
              <a:defRPr/>
            </a:pPr>
            <a:endParaRPr lang="de-DE" sz="1600">
              <a:latin typeface="DIN-Medium" pitchFamily="34" charset="0"/>
              <a:cs typeface="+mn-cs"/>
            </a:endParaRPr>
          </a:p>
        </p:txBody>
      </p:sp>
      <p:sp>
        <p:nvSpPr>
          <p:cNvPr id="141" name="Ellipse 116"/>
          <p:cNvSpPr>
            <a:spLocks noChangeArrowheads="1"/>
          </p:cNvSpPr>
          <p:nvPr/>
        </p:nvSpPr>
        <p:spPr bwMode="auto">
          <a:xfrm>
            <a:off x="7350814" y="5852553"/>
            <a:ext cx="152400" cy="149225"/>
          </a:xfrm>
          <a:prstGeom prst="ellipse">
            <a:avLst/>
          </a:prstGeom>
          <a:solidFill>
            <a:srgbClr val="686868"/>
          </a:solidFill>
          <a:ln w="9525" algn="ctr">
            <a:solidFill>
              <a:schemeClr val="tx1"/>
            </a:solidFill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36000" tIns="0" bIns="0" anchor="b">
            <a:spAutoFit/>
          </a:bodyPr>
          <a:lstStyle/>
          <a:p>
            <a:pPr eaLnBrk="0" hangingPunct="0">
              <a:lnSpc>
                <a:spcPct val="110000"/>
              </a:lnSpc>
              <a:spcBef>
                <a:spcPct val="50000"/>
              </a:spcBef>
              <a:defRPr/>
            </a:pPr>
            <a:endParaRPr lang="de-DE" sz="1600">
              <a:latin typeface="DIN-Medium" pitchFamily="34" charset="0"/>
              <a:cs typeface="+mn-cs"/>
            </a:endParaRPr>
          </a:p>
        </p:txBody>
      </p:sp>
      <p:sp>
        <p:nvSpPr>
          <p:cNvPr id="142" name="Ellipse 116"/>
          <p:cNvSpPr>
            <a:spLocks noChangeArrowheads="1"/>
          </p:cNvSpPr>
          <p:nvPr/>
        </p:nvSpPr>
        <p:spPr bwMode="auto">
          <a:xfrm>
            <a:off x="6528945" y="6308725"/>
            <a:ext cx="152400" cy="149225"/>
          </a:xfrm>
          <a:prstGeom prst="ellipse">
            <a:avLst/>
          </a:prstGeom>
          <a:solidFill>
            <a:srgbClr val="686868"/>
          </a:solidFill>
          <a:ln w="9525" algn="ctr">
            <a:solidFill>
              <a:schemeClr val="tx1"/>
            </a:solidFill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36000" tIns="0" bIns="0" anchor="b">
            <a:spAutoFit/>
          </a:bodyPr>
          <a:lstStyle/>
          <a:p>
            <a:pPr eaLnBrk="0" hangingPunct="0">
              <a:lnSpc>
                <a:spcPct val="110000"/>
              </a:lnSpc>
              <a:spcBef>
                <a:spcPct val="50000"/>
              </a:spcBef>
              <a:defRPr/>
            </a:pPr>
            <a:endParaRPr lang="de-DE" sz="1600">
              <a:latin typeface="DIN-Medium" pitchFamily="34" charset="0"/>
              <a:cs typeface="+mn-cs"/>
            </a:endParaRPr>
          </a:p>
        </p:txBody>
      </p:sp>
      <p:sp>
        <p:nvSpPr>
          <p:cNvPr id="143" name="Ellipse 116"/>
          <p:cNvSpPr>
            <a:spLocks noChangeArrowheads="1"/>
          </p:cNvSpPr>
          <p:nvPr/>
        </p:nvSpPr>
        <p:spPr bwMode="auto">
          <a:xfrm>
            <a:off x="7539389" y="3314700"/>
            <a:ext cx="152400" cy="149225"/>
          </a:xfrm>
          <a:prstGeom prst="ellipse">
            <a:avLst/>
          </a:prstGeom>
          <a:solidFill>
            <a:srgbClr val="686868"/>
          </a:solidFill>
          <a:ln w="9525" algn="ctr">
            <a:solidFill>
              <a:schemeClr val="tx1"/>
            </a:solidFill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36000" tIns="0" bIns="0" anchor="b">
            <a:spAutoFit/>
          </a:bodyPr>
          <a:lstStyle/>
          <a:p>
            <a:pPr eaLnBrk="0" hangingPunct="0">
              <a:lnSpc>
                <a:spcPct val="110000"/>
              </a:lnSpc>
              <a:spcBef>
                <a:spcPct val="50000"/>
              </a:spcBef>
              <a:defRPr/>
            </a:pPr>
            <a:endParaRPr lang="de-DE" sz="1600">
              <a:latin typeface="DIN-Medium" pitchFamily="34" charset="0"/>
              <a:cs typeface="+mn-cs"/>
            </a:endParaRPr>
          </a:p>
        </p:txBody>
      </p:sp>
      <p:pic>
        <p:nvPicPr>
          <p:cNvPr id="144" name="Picture 2" descr="C:\Users\mergneh\Desktop\Untergrundtemperatur-2500uNN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>
          <a:xfrm>
            <a:off x="539552" y="1798638"/>
            <a:ext cx="3311525" cy="4835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45" name="Ellipse 116"/>
          <p:cNvSpPr>
            <a:spLocks noChangeArrowheads="1"/>
          </p:cNvSpPr>
          <p:nvPr/>
        </p:nvSpPr>
        <p:spPr bwMode="auto">
          <a:xfrm>
            <a:off x="5671695" y="5315545"/>
            <a:ext cx="152400" cy="149225"/>
          </a:xfrm>
          <a:prstGeom prst="ellipse">
            <a:avLst/>
          </a:prstGeom>
          <a:solidFill>
            <a:srgbClr val="686868"/>
          </a:solidFill>
          <a:ln w="9525" algn="ctr">
            <a:solidFill>
              <a:schemeClr val="tx1"/>
            </a:solidFill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36000" tIns="0" bIns="0" anchor="b">
            <a:spAutoFit/>
          </a:bodyPr>
          <a:lstStyle/>
          <a:p>
            <a:pPr eaLnBrk="0" hangingPunct="0">
              <a:lnSpc>
                <a:spcPct val="110000"/>
              </a:lnSpc>
              <a:spcBef>
                <a:spcPct val="50000"/>
              </a:spcBef>
              <a:defRPr/>
            </a:pPr>
            <a:endParaRPr lang="de-DE" sz="1600">
              <a:latin typeface="DIN-Medium" pitchFamily="34" charset="0"/>
              <a:cs typeface="+mn-cs"/>
            </a:endParaRPr>
          </a:p>
        </p:txBody>
      </p:sp>
      <p:sp>
        <p:nvSpPr>
          <p:cNvPr id="74" name="Titel 1"/>
          <p:cNvSpPr txBox="1">
            <a:spLocks/>
          </p:cNvSpPr>
          <p:nvPr/>
        </p:nvSpPr>
        <p:spPr bwMode="auto">
          <a:xfrm>
            <a:off x="584200" y="547688"/>
            <a:ext cx="6940550" cy="1152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2000">
                <a:solidFill>
                  <a:srgbClr val="000099"/>
                </a:solidFill>
                <a:latin typeface="+mj-lt"/>
                <a:ea typeface="Lucida Sans Unicode" pitchFamily="34" charset="0"/>
                <a:cs typeface="+mj-cs"/>
              </a:defRPr>
            </a:lvl1pPr>
            <a:lvl2pPr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2000">
                <a:solidFill>
                  <a:srgbClr val="000099"/>
                </a:solidFill>
                <a:latin typeface="DIN-Medium" pitchFamily="34" charset="0"/>
                <a:ea typeface="Lucida Sans Unicode" pitchFamily="34" charset="0"/>
                <a:cs typeface="Lucida Sans Unicode" pitchFamily="34" charset="0"/>
              </a:defRPr>
            </a:lvl2pPr>
            <a:lvl3pPr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2000">
                <a:solidFill>
                  <a:srgbClr val="000099"/>
                </a:solidFill>
                <a:latin typeface="DIN-Medium" pitchFamily="34" charset="0"/>
                <a:ea typeface="Lucida Sans Unicode" pitchFamily="34" charset="0"/>
                <a:cs typeface="Lucida Sans Unicode" pitchFamily="34" charset="0"/>
              </a:defRPr>
            </a:lvl3pPr>
            <a:lvl4pPr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2000">
                <a:solidFill>
                  <a:srgbClr val="000099"/>
                </a:solidFill>
                <a:latin typeface="DIN-Medium" pitchFamily="34" charset="0"/>
                <a:ea typeface="Lucida Sans Unicode" pitchFamily="34" charset="0"/>
                <a:cs typeface="Lucida Sans Unicode" pitchFamily="34" charset="0"/>
              </a:defRPr>
            </a:lvl4pPr>
            <a:lvl5pPr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2000">
                <a:solidFill>
                  <a:srgbClr val="000099"/>
                </a:solidFill>
                <a:latin typeface="DIN-Medium" pitchFamily="34" charset="0"/>
                <a:ea typeface="Lucida Sans Unicode" pitchFamily="34" charset="0"/>
                <a:cs typeface="Lucida Sans Unicode" pitchFamily="34" charset="0"/>
              </a:defRPr>
            </a:lvl5pPr>
            <a:lvl6pPr marL="2514600" indent="-228600" algn="l" defTabSz="449263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2000">
                <a:solidFill>
                  <a:srgbClr val="000099"/>
                </a:solidFill>
                <a:latin typeface="DIN-Medium" pitchFamily="34" charset="0"/>
                <a:cs typeface="Lucida Sans Unicode" pitchFamily="34" charset="0"/>
              </a:defRPr>
            </a:lvl6pPr>
            <a:lvl7pPr marL="2971800" indent="-228600" algn="l" defTabSz="449263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2000">
                <a:solidFill>
                  <a:srgbClr val="000099"/>
                </a:solidFill>
                <a:latin typeface="DIN-Medium" pitchFamily="34" charset="0"/>
                <a:cs typeface="Lucida Sans Unicode" pitchFamily="34" charset="0"/>
              </a:defRPr>
            </a:lvl7pPr>
            <a:lvl8pPr marL="3429000" indent="-228600" algn="l" defTabSz="449263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2000">
                <a:solidFill>
                  <a:srgbClr val="000099"/>
                </a:solidFill>
                <a:latin typeface="DIN-Medium" pitchFamily="34" charset="0"/>
                <a:cs typeface="Lucida Sans Unicode" pitchFamily="34" charset="0"/>
              </a:defRPr>
            </a:lvl8pPr>
            <a:lvl9pPr marL="3886200" indent="-228600" algn="l" defTabSz="449263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2000">
                <a:solidFill>
                  <a:srgbClr val="000099"/>
                </a:solidFill>
                <a:latin typeface="DIN-Medium" pitchFamily="34" charset="0"/>
                <a:cs typeface="Lucida Sans Unicode" pitchFamily="34" charset="0"/>
              </a:defRPr>
            </a:lvl9pPr>
          </a:lstStyle>
          <a:p>
            <a:pPr>
              <a:defRPr/>
            </a:pPr>
            <a:r>
              <a:rPr lang="hu-HU" sz="2400" dirty="0" smtClean="0">
                <a:ea typeface="+mj-ea"/>
              </a:rPr>
              <a:t>Geotermikus</a:t>
            </a:r>
            <a:r>
              <a:rPr lang="hu-HU" sz="2400" dirty="0">
                <a:ea typeface="+mj-ea"/>
              </a:rPr>
              <a:t> </a:t>
            </a:r>
            <a:r>
              <a:rPr lang="hu-HU" sz="2400" dirty="0" smtClean="0">
                <a:ea typeface="+mj-ea"/>
              </a:rPr>
              <a:t>áramtermelés</a:t>
            </a:r>
            <a:r>
              <a:rPr lang="de-DE" sz="2400" dirty="0" smtClean="0">
                <a:ea typeface="+mj-ea"/>
              </a:rPr>
              <a:t> </a:t>
            </a:r>
            <a:r>
              <a:rPr lang="hu-HU" sz="2400" dirty="0" smtClean="0">
                <a:ea typeface="+mj-ea"/>
              </a:rPr>
              <a:t>Németországban</a:t>
            </a:r>
            <a:r>
              <a:rPr lang="de-DE" sz="2400" dirty="0" smtClean="0">
                <a:ea typeface="+mj-ea"/>
              </a:rPr>
              <a:t/>
            </a:r>
            <a:br>
              <a:rPr lang="de-DE" sz="2400" dirty="0" smtClean="0">
                <a:ea typeface="+mj-ea"/>
              </a:rPr>
            </a:br>
            <a:r>
              <a:rPr lang="hu-HU" sz="1600" i="1" dirty="0" smtClean="0"/>
              <a:t>Különösen Németország déli és délnyugati részén</a:t>
            </a:r>
            <a:r>
              <a:rPr lang="de-DE" dirty="0" smtClean="0">
                <a:ea typeface="+mj-ea"/>
              </a:rPr>
              <a:t/>
            </a:r>
            <a:br>
              <a:rPr lang="de-DE" dirty="0" smtClean="0">
                <a:ea typeface="+mj-ea"/>
              </a:rPr>
            </a:br>
            <a:endParaRPr lang="de-DE" dirty="0" smtClean="0">
              <a:ea typeface="+mj-ea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684053471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oliennummernplatzhalter 5"/>
          <p:cNvSpPr txBox="1">
            <a:spLocks noGrp="1"/>
          </p:cNvSpPr>
          <p:nvPr/>
        </p:nvSpPr>
        <p:spPr bwMode="auto">
          <a:xfrm>
            <a:off x="358775" y="6477000"/>
            <a:ext cx="360363" cy="252413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>
              <a:lnSpc>
                <a:spcPct val="110000"/>
              </a:lnSpc>
              <a:spcBef>
                <a:spcPct val="50000"/>
              </a:spcBef>
              <a:defRPr/>
            </a:pPr>
            <a:fld id="{8A4CAE5C-994C-4DE6-BFFA-C0B96638DD77}" type="slidenum">
              <a:rPr lang="de-DE" sz="1200">
                <a:solidFill>
                  <a:srgbClr val="999999"/>
                </a:solidFill>
                <a:latin typeface="DIN-Regular"/>
                <a:cs typeface="+mn-cs"/>
              </a:rPr>
              <a:pPr eaLnBrk="0" hangingPunct="0">
                <a:lnSpc>
                  <a:spcPct val="110000"/>
                </a:lnSpc>
                <a:spcBef>
                  <a:spcPct val="50000"/>
                </a:spcBef>
                <a:defRPr/>
              </a:pPr>
              <a:t>4</a:t>
            </a:fld>
            <a:r>
              <a:rPr lang="de-DE" sz="1200" dirty="0">
                <a:solidFill>
                  <a:srgbClr val="999999"/>
                </a:solidFill>
                <a:latin typeface="DIN-Regular"/>
                <a:cs typeface="+mn-cs"/>
              </a:rPr>
              <a:t> </a:t>
            </a:r>
            <a:endParaRPr lang="de-DE" sz="1600" dirty="0">
              <a:solidFill>
                <a:srgbClr val="B3B3B3"/>
              </a:solidFill>
              <a:latin typeface="Times" pitchFamily="18" charset="0"/>
              <a:cs typeface="+mn-cs"/>
            </a:endParaRPr>
          </a:p>
        </p:txBody>
      </p:sp>
      <p:sp>
        <p:nvSpPr>
          <p:cNvPr id="73" name="Rectangle 3"/>
          <p:cNvSpPr>
            <a:spLocks noChangeAspect="1" noChangeArrowheads="1"/>
          </p:cNvSpPr>
          <p:nvPr/>
        </p:nvSpPr>
        <p:spPr bwMode="auto">
          <a:xfrm>
            <a:off x="528638" y="482600"/>
            <a:ext cx="6478587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r>
              <a:rPr lang="de-DE" sz="2400" dirty="0" smtClean="0">
                <a:latin typeface="DIN-Medium" pitchFamily="34" charset="0"/>
              </a:rPr>
              <a:t>Potentiale und Kraftwerke</a:t>
            </a:r>
          </a:p>
          <a:p>
            <a:r>
              <a:rPr lang="de-DE" sz="1800" i="1" dirty="0" smtClean="0">
                <a:latin typeface="+mj-lt"/>
                <a:ea typeface="+mj-ea"/>
                <a:cs typeface="+mj-cs"/>
              </a:rPr>
              <a:t>Zumeist Doubletten</a:t>
            </a:r>
            <a:endParaRPr lang="de-DE" sz="1800" i="1" dirty="0">
              <a:latin typeface="+mj-lt"/>
              <a:ea typeface="+mj-ea"/>
              <a:cs typeface="+mj-cs"/>
            </a:endParaRPr>
          </a:p>
        </p:txBody>
      </p:sp>
      <p:sp>
        <p:nvSpPr>
          <p:cNvPr id="74" name="Titel 1"/>
          <p:cNvSpPr txBox="1">
            <a:spLocks/>
          </p:cNvSpPr>
          <p:nvPr/>
        </p:nvSpPr>
        <p:spPr bwMode="auto">
          <a:xfrm>
            <a:off x="584200" y="547688"/>
            <a:ext cx="6940550" cy="1152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2000">
                <a:solidFill>
                  <a:srgbClr val="000099"/>
                </a:solidFill>
                <a:latin typeface="+mj-lt"/>
                <a:ea typeface="Lucida Sans Unicode" pitchFamily="34" charset="0"/>
                <a:cs typeface="+mj-cs"/>
              </a:defRPr>
            </a:lvl1pPr>
            <a:lvl2pPr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2000">
                <a:solidFill>
                  <a:srgbClr val="000099"/>
                </a:solidFill>
                <a:latin typeface="DIN-Medium" pitchFamily="34" charset="0"/>
                <a:ea typeface="Lucida Sans Unicode" pitchFamily="34" charset="0"/>
                <a:cs typeface="Lucida Sans Unicode" pitchFamily="34" charset="0"/>
              </a:defRPr>
            </a:lvl2pPr>
            <a:lvl3pPr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2000">
                <a:solidFill>
                  <a:srgbClr val="000099"/>
                </a:solidFill>
                <a:latin typeface="DIN-Medium" pitchFamily="34" charset="0"/>
                <a:ea typeface="Lucida Sans Unicode" pitchFamily="34" charset="0"/>
                <a:cs typeface="Lucida Sans Unicode" pitchFamily="34" charset="0"/>
              </a:defRPr>
            </a:lvl3pPr>
            <a:lvl4pPr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2000">
                <a:solidFill>
                  <a:srgbClr val="000099"/>
                </a:solidFill>
                <a:latin typeface="DIN-Medium" pitchFamily="34" charset="0"/>
                <a:ea typeface="Lucida Sans Unicode" pitchFamily="34" charset="0"/>
                <a:cs typeface="Lucida Sans Unicode" pitchFamily="34" charset="0"/>
              </a:defRPr>
            </a:lvl4pPr>
            <a:lvl5pPr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2000">
                <a:solidFill>
                  <a:srgbClr val="000099"/>
                </a:solidFill>
                <a:latin typeface="DIN-Medium" pitchFamily="34" charset="0"/>
                <a:ea typeface="Lucida Sans Unicode" pitchFamily="34" charset="0"/>
                <a:cs typeface="Lucida Sans Unicode" pitchFamily="34" charset="0"/>
              </a:defRPr>
            </a:lvl5pPr>
            <a:lvl6pPr marL="2514600" indent="-228600" algn="l" defTabSz="449263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2000">
                <a:solidFill>
                  <a:srgbClr val="000099"/>
                </a:solidFill>
                <a:latin typeface="DIN-Medium" pitchFamily="34" charset="0"/>
                <a:cs typeface="Lucida Sans Unicode" pitchFamily="34" charset="0"/>
              </a:defRPr>
            </a:lvl6pPr>
            <a:lvl7pPr marL="2971800" indent="-228600" algn="l" defTabSz="449263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2000">
                <a:solidFill>
                  <a:srgbClr val="000099"/>
                </a:solidFill>
                <a:latin typeface="DIN-Medium" pitchFamily="34" charset="0"/>
                <a:cs typeface="Lucida Sans Unicode" pitchFamily="34" charset="0"/>
              </a:defRPr>
            </a:lvl7pPr>
            <a:lvl8pPr marL="3429000" indent="-228600" algn="l" defTabSz="449263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2000">
                <a:solidFill>
                  <a:srgbClr val="000099"/>
                </a:solidFill>
                <a:latin typeface="DIN-Medium" pitchFamily="34" charset="0"/>
                <a:cs typeface="Lucida Sans Unicode" pitchFamily="34" charset="0"/>
              </a:defRPr>
            </a:lvl8pPr>
            <a:lvl9pPr marL="3886200" indent="-228600" algn="l" defTabSz="449263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2000">
                <a:solidFill>
                  <a:srgbClr val="000099"/>
                </a:solidFill>
                <a:latin typeface="DIN-Medium" pitchFamily="34" charset="0"/>
                <a:cs typeface="Lucida Sans Unicode" pitchFamily="34" charset="0"/>
              </a:defRPr>
            </a:lvl9pPr>
          </a:lstStyle>
          <a:p>
            <a:pPr>
              <a:defRPr/>
            </a:pPr>
            <a:r>
              <a:rPr lang="hu-HU" sz="2400" dirty="0" smtClean="0">
                <a:ea typeface="+mj-ea"/>
              </a:rPr>
              <a:t>Felső-Rajnai geotermikus erőművek</a:t>
            </a:r>
            <a:r>
              <a:rPr lang="de-DE" sz="2400" dirty="0" smtClean="0">
                <a:ea typeface="+mj-ea"/>
              </a:rPr>
              <a:t/>
            </a:r>
            <a:br>
              <a:rPr lang="de-DE" sz="2400" dirty="0" smtClean="0">
                <a:ea typeface="+mj-ea"/>
              </a:rPr>
            </a:br>
            <a:r>
              <a:rPr lang="de-DE" sz="1600" i="1" dirty="0" smtClean="0"/>
              <a:t>2009 </a:t>
            </a:r>
            <a:r>
              <a:rPr lang="hu-HU" sz="1600" i="1" dirty="0" smtClean="0"/>
              <a:t>és</a:t>
            </a:r>
            <a:r>
              <a:rPr lang="de-DE" sz="1600" i="1" dirty="0" smtClean="0"/>
              <a:t> 2012 </a:t>
            </a:r>
            <a:r>
              <a:rPr lang="hu-HU" sz="1600" i="1" dirty="0" smtClean="0"/>
              <a:t>között négy egység kezdte meg a működését</a:t>
            </a:r>
            <a:r>
              <a:rPr lang="de-DE" dirty="0" smtClean="0">
                <a:ea typeface="+mj-ea"/>
              </a:rPr>
              <a:t/>
            </a:r>
            <a:br>
              <a:rPr lang="de-DE" dirty="0" smtClean="0">
                <a:ea typeface="+mj-ea"/>
              </a:rPr>
            </a:br>
            <a:endParaRPr lang="de-DE" dirty="0" smtClean="0">
              <a:ea typeface="+mj-ea"/>
            </a:endParaRPr>
          </a:p>
        </p:txBody>
      </p:sp>
      <p:sp>
        <p:nvSpPr>
          <p:cNvPr id="75" name="Text Box 99"/>
          <p:cNvSpPr txBox="1">
            <a:spLocks noChangeArrowheads="1"/>
          </p:cNvSpPr>
          <p:nvPr/>
        </p:nvSpPr>
        <p:spPr bwMode="auto">
          <a:xfrm>
            <a:off x="5690005" y="5738582"/>
            <a:ext cx="241038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36000" tIns="0" bIns="0" anchor="b">
            <a:spAutoFit/>
          </a:bodyPr>
          <a:lstStyle>
            <a:lvl1pPr>
              <a:defRPr sz="1400">
                <a:solidFill>
                  <a:srgbClr val="000099"/>
                </a:solidFill>
                <a:latin typeface="DIN-Regular" pitchFamily="34" charset="0"/>
              </a:defRPr>
            </a:lvl1pPr>
            <a:lvl2pPr marL="742950" indent="-285750">
              <a:defRPr sz="1400">
                <a:solidFill>
                  <a:srgbClr val="000099"/>
                </a:solidFill>
                <a:latin typeface="DIN-Regular" pitchFamily="34" charset="0"/>
              </a:defRPr>
            </a:lvl2pPr>
            <a:lvl3pPr marL="1143000" indent="-228600">
              <a:defRPr sz="1400">
                <a:solidFill>
                  <a:srgbClr val="000099"/>
                </a:solidFill>
                <a:latin typeface="DIN-Regular" pitchFamily="34" charset="0"/>
              </a:defRPr>
            </a:lvl3pPr>
            <a:lvl4pPr marL="1600200" indent="-228600">
              <a:defRPr sz="1400">
                <a:solidFill>
                  <a:srgbClr val="000099"/>
                </a:solidFill>
                <a:latin typeface="DIN-Regular" pitchFamily="34" charset="0"/>
              </a:defRPr>
            </a:lvl4pPr>
            <a:lvl5pPr marL="2057400" indent="-228600">
              <a:defRPr sz="1400">
                <a:solidFill>
                  <a:srgbClr val="000099"/>
                </a:solidFill>
                <a:latin typeface="DIN-Regular" pitchFamily="34" charset="0"/>
              </a:defRPr>
            </a:lvl5pPr>
            <a:lvl6pPr marL="25146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1400">
                <a:solidFill>
                  <a:srgbClr val="000099"/>
                </a:solidFill>
                <a:latin typeface="DIN-Regular" pitchFamily="34" charset="0"/>
              </a:defRPr>
            </a:lvl6pPr>
            <a:lvl7pPr marL="29718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1400">
                <a:solidFill>
                  <a:srgbClr val="000099"/>
                </a:solidFill>
                <a:latin typeface="DIN-Regular" pitchFamily="34" charset="0"/>
              </a:defRPr>
            </a:lvl7pPr>
            <a:lvl8pPr marL="34290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1400">
                <a:solidFill>
                  <a:srgbClr val="000099"/>
                </a:solidFill>
                <a:latin typeface="DIN-Regular" pitchFamily="34" charset="0"/>
              </a:defRPr>
            </a:lvl8pPr>
            <a:lvl9pPr marL="38862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1400">
                <a:solidFill>
                  <a:srgbClr val="000099"/>
                </a:solidFill>
                <a:latin typeface="DIN-Regular" pitchFamily="34" charset="0"/>
              </a:defRPr>
            </a:lvl9pPr>
          </a:lstStyle>
          <a:p>
            <a:r>
              <a:rPr lang="de-DE" sz="1000" dirty="0" smtClean="0">
                <a:solidFill>
                  <a:srgbClr val="979797"/>
                </a:solidFill>
              </a:rPr>
              <a:t>Umgezeichnet nach Röhr </a:t>
            </a:r>
            <a:r>
              <a:rPr lang="de-DE" sz="1000" dirty="0">
                <a:solidFill>
                  <a:srgbClr val="979797"/>
                </a:solidFill>
              </a:rPr>
              <a:t>2007</a:t>
            </a:r>
          </a:p>
        </p:txBody>
      </p:sp>
      <p:pic>
        <p:nvPicPr>
          <p:cNvPr id="146" name="Picture 1" descr="C:\Users\TKKK\Desktop\EnBW\Tiefe Geothermie\Chongqing\ORG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76012" y="1924968"/>
            <a:ext cx="8784384" cy="35900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Ellipse 1"/>
          <p:cNvSpPr/>
          <p:nvPr/>
        </p:nvSpPr>
        <p:spPr bwMode="auto">
          <a:xfrm>
            <a:off x="3686795" y="3212976"/>
            <a:ext cx="216024" cy="144016"/>
          </a:xfrm>
          <a:prstGeom prst="ellipse">
            <a:avLst/>
          </a:prstGeom>
          <a:solidFill>
            <a:srgbClr val="FFCC99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4492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buNone/>
              <a:tabLst/>
            </a:pPr>
            <a:endParaRPr kumimoji="0" lang="de-DE" sz="1800" b="0" i="0" u="none" strike="noStrike" cap="none" normalizeH="0" baseline="0" smtClean="0">
              <a:ln>
                <a:noFill/>
              </a:ln>
              <a:solidFill>
                <a:schemeClr val="bg1"/>
              </a:solidFill>
              <a:effectLst/>
              <a:latin typeface="Arial" charset="0"/>
              <a:cs typeface="Lucida Sans Unicode" pitchFamily="34" charset="0"/>
            </a:endParaRPr>
          </a:p>
        </p:txBody>
      </p:sp>
      <p:sp>
        <p:nvSpPr>
          <p:cNvPr id="3" name="Textfeld 2"/>
          <p:cNvSpPr txBox="1"/>
          <p:nvPr/>
        </p:nvSpPr>
        <p:spPr>
          <a:xfrm>
            <a:off x="3817615" y="3284984"/>
            <a:ext cx="81144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Insheim</a:t>
            </a:r>
            <a:endParaRPr lang="de-DE" sz="14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855279756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06413" y="539750"/>
            <a:ext cx="6802437" cy="769441"/>
          </a:xfrm>
        </p:spPr>
        <p:txBody>
          <a:bodyPr/>
          <a:lstStyle/>
          <a:p>
            <a:r>
              <a:rPr lang="hu-HU" sz="2400" kern="1200" dirty="0" smtClean="0">
                <a:ea typeface="+mj-ea"/>
              </a:rPr>
              <a:t>A geotermia jövőbeli szerepe</a:t>
            </a:r>
            <a:r>
              <a:rPr lang="de-DE" dirty="0"/>
              <a:t/>
            </a:r>
            <a:br>
              <a:rPr lang="de-DE" dirty="0"/>
            </a:br>
            <a:r>
              <a:rPr lang="de-DE" sz="600" dirty="0"/>
              <a:t/>
            </a:r>
            <a:br>
              <a:rPr lang="de-DE" sz="600" dirty="0"/>
            </a:br>
            <a:r>
              <a:rPr lang="hu-HU" sz="1600" i="1" kern="1200" dirty="0" smtClean="0"/>
              <a:t>Szükségünk van a geotermiára</a:t>
            </a:r>
            <a:r>
              <a:rPr lang="de-DE" sz="1600" i="1" kern="1200" dirty="0" smtClean="0"/>
              <a:t>?</a:t>
            </a:r>
            <a:endParaRPr lang="de-DE" sz="1600" i="1" kern="120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idx="11"/>
          </p:nvPr>
        </p:nvSpPr>
        <p:spPr>
          <a:xfrm>
            <a:off x="358775" y="6477000"/>
            <a:ext cx="360363" cy="252413"/>
          </a:xfrm>
          <a:prstGeom prst="rect">
            <a:avLst/>
          </a:prstGeom>
        </p:spPr>
        <p:txBody>
          <a:bodyPr/>
          <a:lstStyle/>
          <a:p>
            <a:fld id="{36D858A3-9638-4E96-B6E6-EA111E7F9225}" type="slidenum">
              <a:rPr lang="de-DE" smtClean="0"/>
              <a:pPr/>
              <a:t>5</a:t>
            </a:fld>
            <a:r>
              <a:rPr lang="de-DE" smtClean="0"/>
              <a:t> </a:t>
            </a:r>
            <a:endParaRPr lang="de-DE" sz="1400">
              <a:solidFill>
                <a:srgbClr val="B3B3B3"/>
              </a:solidFill>
              <a:latin typeface="Times" charset="0"/>
            </a:endParaRPr>
          </a:p>
        </p:txBody>
      </p:sp>
      <p:pic>
        <p:nvPicPr>
          <p:cNvPr id="5" name="Picture 2" descr="http://www.amprion.net/sites/default/files/images/amprion-verbraucherbilanz.png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r="56876"/>
          <a:stretch/>
        </p:blipFill>
        <p:spPr bwMode="auto">
          <a:xfrm>
            <a:off x="770030" y="2765648"/>
            <a:ext cx="2361810" cy="2895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2" descr="http://www.liag-hannover.de/fileadmin/user_upload/pix/Informationssysteme_Geomodelle/Deutschlandkarte_geothermischer_gradient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635896" y="2780928"/>
            <a:ext cx="2592288" cy="27491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2" descr="0212_nep_plan_z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657640" y="2765648"/>
            <a:ext cx="2234840" cy="29108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2" descr="http://www.amprion.net/sites/default/files/images/amprion-verbraucherbilanz.png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55270"/>
          <a:stretch/>
        </p:blipFill>
        <p:spPr bwMode="auto">
          <a:xfrm>
            <a:off x="755576" y="2779128"/>
            <a:ext cx="2449826" cy="2895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 Box 6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4355976" y="5841558"/>
            <a:ext cx="4608513" cy="1077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36000" tIns="0" bIns="0" anchor="b">
            <a:spAutoFit/>
          </a:bodyPr>
          <a:lstStyle>
            <a:lvl1pPr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>
              <a:lnSpc>
                <a:spcPct val="70000"/>
              </a:lnSpc>
              <a:spcBef>
                <a:spcPct val="50000"/>
              </a:spcBef>
            </a:pPr>
            <a:r>
              <a:rPr lang="hu-HU" sz="1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DIN-Light" pitchFamily="34" charset="0"/>
                <a:ea typeface="ヒラギノ角ゴ Pro W3" charset="-128"/>
                <a:cs typeface="Arial" charset="0"/>
              </a:rPr>
              <a:t>Források</a:t>
            </a:r>
            <a:r>
              <a:rPr lang="en-GB" sz="1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DIN-Light" pitchFamily="34" charset="0"/>
                <a:ea typeface="ヒラギノ角ゴ Pro W3" charset="-128"/>
                <a:cs typeface="Arial" charset="0"/>
              </a:rPr>
              <a:t>: www.amprion.net; www.liag-hannover.de</a:t>
            </a:r>
            <a:r>
              <a:rPr lang="en-GB" sz="1000" dirty="0">
                <a:solidFill>
                  <a:schemeClr val="tx1">
                    <a:lumMod val="75000"/>
                    <a:lumOff val="25000"/>
                  </a:schemeClr>
                </a:solidFill>
                <a:latin typeface="DIN-Light" pitchFamily="34" charset="0"/>
                <a:ea typeface="ヒラギノ角ゴ Pro W3" charset="-128"/>
                <a:cs typeface="Arial" charset="0"/>
              </a:rPr>
              <a:t>;</a:t>
            </a:r>
            <a:r>
              <a:rPr lang="en-GB" sz="1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DIN-Light" pitchFamily="34" charset="0"/>
                <a:ea typeface="ヒラギノ角ゴ Pro W3" charset="-128"/>
                <a:cs typeface="Arial" charset="0"/>
              </a:rPr>
              <a:t> </a:t>
            </a:r>
            <a:r>
              <a:rPr lang="en-GB" sz="1000" dirty="0">
                <a:solidFill>
                  <a:schemeClr val="tx1">
                    <a:lumMod val="75000"/>
                    <a:lumOff val="25000"/>
                  </a:schemeClr>
                </a:solidFill>
                <a:latin typeface="DIN-Light" pitchFamily="34" charset="0"/>
                <a:ea typeface="ヒラギノ角ゴ Pro W3" charset="-128"/>
                <a:cs typeface="Arial" charset="0"/>
              </a:rPr>
              <a:t>www.ipp.mpg.de</a:t>
            </a:r>
          </a:p>
        </p:txBody>
      </p:sp>
      <p:sp>
        <p:nvSpPr>
          <p:cNvPr id="10" name="Text Box 6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3518005" y="5589240"/>
            <a:ext cx="2828070" cy="886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36000" tIns="0" bIns="0" anchor="b">
            <a:spAutoFit/>
          </a:bodyPr>
          <a:lstStyle>
            <a:lvl1pPr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>
              <a:lnSpc>
                <a:spcPct val="70000"/>
              </a:lnSpc>
              <a:spcBef>
                <a:spcPct val="50000"/>
              </a:spcBef>
            </a:pPr>
            <a:r>
              <a:rPr lang="de-DE" sz="800" dirty="0">
                <a:solidFill>
                  <a:schemeClr val="tx1">
                    <a:lumMod val="75000"/>
                    <a:lumOff val="25000"/>
                  </a:schemeClr>
                </a:solidFill>
                <a:latin typeface="DIN-Light" pitchFamily="34" charset="0"/>
                <a:ea typeface="ヒラギノ角ゴ Pro W3" charset="-128"/>
                <a:cs typeface="Arial" charset="0"/>
              </a:rPr>
              <a:t>wobei ∆T = 100 K und ∆z die Teufe ist</a:t>
            </a:r>
            <a:endParaRPr lang="en-GB" sz="800" dirty="0">
              <a:solidFill>
                <a:schemeClr val="tx1">
                  <a:lumMod val="75000"/>
                  <a:lumOff val="25000"/>
                </a:schemeClr>
              </a:solidFill>
              <a:latin typeface="DIN-Light" pitchFamily="34" charset="0"/>
              <a:ea typeface="ヒラギノ角ゴ Pro W3" charset="-128"/>
              <a:cs typeface="Arial" charset="0"/>
            </a:endParaRPr>
          </a:p>
        </p:txBody>
      </p:sp>
      <p:sp>
        <p:nvSpPr>
          <p:cNvPr id="13" name="Inhaltsplatzhalter 2"/>
          <p:cNvSpPr txBox="1">
            <a:spLocks/>
          </p:cNvSpPr>
          <p:nvPr/>
        </p:nvSpPr>
        <p:spPr bwMode="auto">
          <a:xfrm>
            <a:off x="4019000" y="1591339"/>
            <a:ext cx="1826077" cy="541687"/>
          </a:xfrm>
          <a:prstGeom prst="rect">
            <a:avLst/>
          </a:prstGeom>
          <a:noFill/>
          <a:ln cap="rnd">
            <a:noFill/>
          </a:ln>
          <a:effectLst>
            <a:softEdge rad="12700"/>
          </a:effectLst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rtl="0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F1A500"/>
              </a:buClr>
              <a:buSzPct val="135000"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3538" indent="-184150" algn="l" rtl="0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F1A500"/>
              </a:buClr>
              <a:buSzPct val="160000"/>
              <a:buFont typeface="DIN-Regular" pitchFamily="34" charset="0"/>
              <a:buChar char="›"/>
              <a:defRPr>
                <a:solidFill>
                  <a:schemeClr val="tx1"/>
                </a:solidFill>
                <a:latin typeface="+mn-lt"/>
              </a:defRPr>
            </a:lvl2pPr>
            <a:lvl3pPr marL="715963" indent="-173038" algn="l" rtl="0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F1A500"/>
              </a:buClr>
              <a:buSzPct val="160000"/>
              <a:buFont typeface="DIN-Regular" pitchFamily="34" charset="0"/>
              <a:buChar char="›"/>
              <a:defRPr>
                <a:solidFill>
                  <a:schemeClr val="tx1"/>
                </a:solidFill>
                <a:latin typeface="+mn-lt"/>
              </a:defRPr>
            </a:lvl3pPr>
            <a:lvl4pPr marL="1079500" indent="-184150" algn="l" rtl="0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F1A500"/>
              </a:buClr>
              <a:buSzPct val="160000"/>
              <a:buFont typeface="DIN-Regular" pitchFamily="34" charset="0"/>
              <a:buChar char="›"/>
              <a:defRPr>
                <a:solidFill>
                  <a:schemeClr val="tx1"/>
                </a:solidFill>
                <a:latin typeface="+mn-lt"/>
              </a:defRPr>
            </a:lvl4pPr>
            <a:lvl5pPr marL="1443038" indent="-184150" algn="l" rtl="0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F1A500"/>
              </a:buClr>
              <a:buSzPct val="160000"/>
              <a:buFont typeface="DIN-Regular" pitchFamily="34" charset="0"/>
              <a:buChar char="›"/>
              <a:defRPr>
                <a:solidFill>
                  <a:schemeClr val="tx1"/>
                </a:solidFill>
                <a:latin typeface="+mn-lt"/>
              </a:defRPr>
            </a:lvl5pPr>
            <a:lvl6pPr marL="1900238" indent="-184150" algn="l" rtl="0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F1A500"/>
              </a:buClr>
              <a:buSzPct val="160000"/>
              <a:buFont typeface="DIN-Regular" pitchFamily="34" charset="0"/>
              <a:buChar char="›"/>
              <a:defRPr>
                <a:solidFill>
                  <a:schemeClr val="tx1"/>
                </a:solidFill>
                <a:latin typeface="+mn-lt"/>
              </a:defRPr>
            </a:lvl6pPr>
            <a:lvl7pPr marL="2357438" indent="-184150" algn="l" rtl="0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F1A500"/>
              </a:buClr>
              <a:buSzPct val="160000"/>
              <a:buFont typeface="DIN-Regular" pitchFamily="34" charset="0"/>
              <a:buChar char="›"/>
              <a:defRPr>
                <a:solidFill>
                  <a:schemeClr val="tx1"/>
                </a:solidFill>
                <a:latin typeface="+mn-lt"/>
              </a:defRPr>
            </a:lvl7pPr>
            <a:lvl8pPr marL="2814638" indent="-184150" algn="l" rtl="0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F1A500"/>
              </a:buClr>
              <a:buSzPct val="160000"/>
              <a:buFont typeface="DIN-Regular" pitchFamily="34" charset="0"/>
              <a:buChar char="›"/>
              <a:defRPr>
                <a:solidFill>
                  <a:schemeClr val="tx1"/>
                </a:solidFill>
                <a:latin typeface="+mn-lt"/>
              </a:defRPr>
            </a:lvl8pPr>
            <a:lvl9pPr marL="3271838" indent="-184150" algn="l" rtl="0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F1A500"/>
              </a:buClr>
              <a:buSzPct val="160000"/>
              <a:buFont typeface="DIN-Regular" pitchFamily="34" charset="0"/>
              <a:buChar char="›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Bef>
                <a:spcPts val="300"/>
              </a:spcBef>
            </a:pPr>
            <a:r>
              <a:rPr lang="hu-HU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DIN-Regular" pitchFamily="34" charset="0"/>
              </a:rPr>
              <a:t>Geo</a:t>
            </a:r>
            <a:r>
              <a:rPr lang="de-DE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DIN-Regular" pitchFamily="34" charset="0"/>
              </a:rPr>
              <a:t>t</a:t>
            </a:r>
            <a:r>
              <a:rPr lang="hu-HU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DIN-Regular" pitchFamily="34" charset="0"/>
              </a:rPr>
              <a:t>ermikus</a:t>
            </a:r>
            <a:r>
              <a:rPr lang="de-DE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DIN-Regular" pitchFamily="34" charset="0"/>
              </a:rPr>
              <a:t> </a:t>
            </a:r>
            <a:r>
              <a:rPr lang="hu-HU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DIN-Regular" pitchFamily="34" charset="0"/>
              </a:rPr>
              <a:t>potenciál</a:t>
            </a:r>
            <a:endParaRPr lang="de-DE" sz="1600" b="1" dirty="0">
              <a:solidFill>
                <a:schemeClr val="tx1">
                  <a:lumMod val="75000"/>
                  <a:lumOff val="25000"/>
                </a:schemeClr>
              </a:solidFill>
              <a:latin typeface="DIN-Regular" pitchFamily="34" charset="0"/>
            </a:endParaRPr>
          </a:p>
        </p:txBody>
      </p:sp>
      <p:sp>
        <p:nvSpPr>
          <p:cNvPr id="14" name="Inhaltsplatzhalter 2"/>
          <p:cNvSpPr txBox="1">
            <a:spLocks/>
          </p:cNvSpPr>
          <p:nvPr/>
        </p:nvSpPr>
        <p:spPr bwMode="auto">
          <a:xfrm>
            <a:off x="6759830" y="1635290"/>
            <a:ext cx="2030459" cy="541687"/>
          </a:xfrm>
          <a:prstGeom prst="rect">
            <a:avLst/>
          </a:prstGeom>
          <a:noFill/>
          <a:ln cap="rnd">
            <a:noFill/>
          </a:ln>
          <a:effectLst>
            <a:softEdge rad="12700"/>
          </a:effectLst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rtl="0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F1A500"/>
              </a:buClr>
              <a:buSzPct val="135000"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3538" indent="-184150" algn="l" rtl="0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F1A500"/>
              </a:buClr>
              <a:buSzPct val="160000"/>
              <a:buFont typeface="DIN-Regular" pitchFamily="34" charset="0"/>
              <a:buChar char="›"/>
              <a:defRPr>
                <a:solidFill>
                  <a:schemeClr val="tx1"/>
                </a:solidFill>
                <a:latin typeface="+mn-lt"/>
              </a:defRPr>
            </a:lvl2pPr>
            <a:lvl3pPr marL="715963" indent="-173038" algn="l" rtl="0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F1A500"/>
              </a:buClr>
              <a:buSzPct val="160000"/>
              <a:buFont typeface="DIN-Regular" pitchFamily="34" charset="0"/>
              <a:buChar char="›"/>
              <a:defRPr>
                <a:solidFill>
                  <a:schemeClr val="tx1"/>
                </a:solidFill>
                <a:latin typeface="+mn-lt"/>
              </a:defRPr>
            </a:lvl3pPr>
            <a:lvl4pPr marL="1079500" indent="-184150" algn="l" rtl="0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F1A500"/>
              </a:buClr>
              <a:buSzPct val="160000"/>
              <a:buFont typeface="DIN-Regular" pitchFamily="34" charset="0"/>
              <a:buChar char="›"/>
              <a:defRPr>
                <a:solidFill>
                  <a:schemeClr val="tx1"/>
                </a:solidFill>
                <a:latin typeface="+mn-lt"/>
              </a:defRPr>
            </a:lvl4pPr>
            <a:lvl5pPr marL="1443038" indent="-184150" algn="l" rtl="0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F1A500"/>
              </a:buClr>
              <a:buSzPct val="160000"/>
              <a:buFont typeface="DIN-Regular" pitchFamily="34" charset="0"/>
              <a:buChar char="›"/>
              <a:defRPr>
                <a:solidFill>
                  <a:schemeClr val="tx1"/>
                </a:solidFill>
                <a:latin typeface="+mn-lt"/>
              </a:defRPr>
            </a:lvl5pPr>
            <a:lvl6pPr marL="1900238" indent="-184150" algn="l" rtl="0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F1A500"/>
              </a:buClr>
              <a:buSzPct val="160000"/>
              <a:buFont typeface="DIN-Regular" pitchFamily="34" charset="0"/>
              <a:buChar char="›"/>
              <a:defRPr>
                <a:solidFill>
                  <a:schemeClr val="tx1"/>
                </a:solidFill>
                <a:latin typeface="+mn-lt"/>
              </a:defRPr>
            </a:lvl6pPr>
            <a:lvl7pPr marL="2357438" indent="-184150" algn="l" rtl="0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F1A500"/>
              </a:buClr>
              <a:buSzPct val="160000"/>
              <a:buFont typeface="DIN-Regular" pitchFamily="34" charset="0"/>
              <a:buChar char="›"/>
              <a:defRPr>
                <a:solidFill>
                  <a:schemeClr val="tx1"/>
                </a:solidFill>
                <a:latin typeface="+mn-lt"/>
              </a:defRPr>
            </a:lvl7pPr>
            <a:lvl8pPr marL="2814638" indent="-184150" algn="l" rtl="0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F1A500"/>
              </a:buClr>
              <a:buSzPct val="160000"/>
              <a:buFont typeface="DIN-Regular" pitchFamily="34" charset="0"/>
              <a:buChar char="›"/>
              <a:defRPr>
                <a:solidFill>
                  <a:schemeClr val="tx1"/>
                </a:solidFill>
                <a:latin typeface="+mn-lt"/>
              </a:defRPr>
            </a:lvl8pPr>
            <a:lvl9pPr marL="3271838" indent="-184150" algn="l" rtl="0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F1A500"/>
              </a:buClr>
              <a:buSzPct val="160000"/>
              <a:buFont typeface="DIN-Regular" pitchFamily="34" charset="0"/>
              <a:buChar char="›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Bef>
                <a:spcPts val="300"/>
              </a:spcBef>
            </a:pPr>
            <a:r>
              <a:rPr lang="hu-HU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DIN-Regular" pitchFamily="34" charset="0"/>
              </a:rPr>
              <a:t>Energi</a:t>
            </a:r>
            <a:r>
              <a:rPr lang="de-DE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DIN-Regular" pitchFamily="34" charset="0"/>
              </a:rPr>
              <a:t>a</a:t>
            </a:r>
            <a:r>
              <a:rPr lang="hu-HU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DIN-Regular" pitchFamily="34" charset="0"/>
              </a:rPr>
              <a:t>szállítási szükséglet </a:t>
            </a:r>
            <a:endParaRPr lang="de-DE" sz="1600" b="1" dirty="0">
              <a:solidFill>
                <a:schemeClr val="tx1">
                  <a:lumMod val="75000"/>
                  <a:lumOff val="25000"/>
                </a:schemeClr>
              </a:solidFill>
              <a:latin typeface="DIN-Regular" pitchFamily="34" charset="0"/>
            </a:endParaRPr>
          </a:p>
        </p:txBody>
      </p:sp>
      <p:sp>
        <p:nvSpPr>
          <p:cNvPr id="16" name="Inhaltsplatzhalter 2"/>
          <p:cNvSpPr txBox="1">
            <a:spLocks/>
          </p:cNvSpPr>
          <p:nvPr/>
        </p:nvSpPr>
        <p:spPr bwMode="auto">
          <a:xfrm>
            <a:off x="1037896" y="1567653"/>
            <a:ext cx="1826077" cy="812530"/>
          </a:xfrm>
          <a:prstGeom prst="rect">
            <a:avLst/>
          </a:prstGeom>
          <a:noFill/>
          <a:ln cap="rnd">
            <a:noFill/>
          </a:ln>
          <a:effectLst>
            <a:softEdge rad="12700"/>
          </a:effectLst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rtl="0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F1A500"/>
              </a:buClr>
              <a:buSzPct val="135000"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3538" indent="-184150" algn="l" rtl="0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F1A500"/>
              </a:buClr>
              <a:buSzPct val="160000"/>
              <a:buFont typeface="DIN-Regular" pitchFamily="34" charset="0"/>
              <a:buChar char="›"/>
              <a:defRPr>
                <a:solidFill>
                  <a:schemeClr val="tx1"/>
                </a:solidFill>
                <a:latin typeface="+mn-lt"/>
              </a:defRPr>
            </a:lvl2pPr>
            <a:lvl3pPr marL="715963" indent="-173038" algn="l" rtl="0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F1A500"/>
              </a:buClr>
              <a:buSzPct val="160000"/>
              <a:buFont typeface="DIN-Regular" pitchFamily="34" charset="0"/>
              <a:buChar char="›"/>
              <a:defRPr>
                <a:solidFill>
                  <a:schemeClr val="tx1"/>
                </a:solidFill>
                <a:latin typeface="+mn-lt"/>
              </a:defRPr>
            </a:lvl3pPr>
            <a:lvl4pPr marL="1079500" indent="-184150" algn="l" rtl="0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F1A500"/>
              </a:buClr>
              <a:buSzPct val="160000"/>
              <a:buFont typeface="DIN-Regular" pitchFamily="34" charset="0"/>
              <a:buChar char="›"/>
              <a:defRPr>
                <a:solidFill>
                  <a:schemeClr val="tx1"/>
                </a:solidFill>
                <a:latin typeface="+mn-lt"/>
              </a:defRPr>
            </a:lvl4pPr>
            <a:lvl5pPr marL="1443038" indent="-184150" algn="l" rtl="0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F1A500"/>
              </a:buClr>
              <a:buSzPct val="160000"/>
              <a:buFont typeface="DIN-Regular" pitchFamily="34" charset="0"/>
              <a:buChar char="›"/>
              <a:defRPr>
                <a:solidFill>
                  <a:schemeClr val="tx1"/>
                </a:solidFill>
                <a:latin typeface="+mn-lt"/>
              </a:defRPr>
            </a:lvl5pPr>
            <a:lvl6pPr marL="1900238" indent="-184150" algn="l" rtl="0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F1A500"/>
              </a:buClr>
              <a:buSzPct val="160000"/>
              <a:buFont typeface="DIN-Regular" pitchFamily="34" charset="0"/>
              <a:buChar char="›"/>
              <a:defRPr>
                <a:solidFill>
                  <a:schemeClr val="tx1"/>
                </a:solidFill>
                <a:latin typeface="+mn-lt"/>
              </a:defRPr>
            </a:lvl6pPr>
            <a:lvl7pPr marL="2357438" indent="-184150" algn="l" rtl="0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F1A500"/>
              </a:buClr>
              <a:buSzPct val="160000"/>
              <a:buFont typeface="DIN-Regular" pitchFamily="34" charset="0"/>
              <a:buChar char="›"/>
              <a:defRPr>
                <a:solidFill>
                  <a:schemeClr val="tx1"/>
                </a:solidFill>
                <a:latin typeface="+mn-lt"/>
              </a:defRPr>
            </a:lvl7pPr>
            <a:lvl8pPr marL="2814638" indent="-184150" algn="l" rtl="0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F1A500"/>
              </a:buClr>
              <a:buSzPct val="160000"/>
              <a:buFont typeface="DIN-Regular" pitchFamily="34" charset="0"/>
              <a:buChar char="›"/>
              <a:defRPr>
                <a:solidFill>
                  <a:schemeClr val="tx1"/>
                </a:solidFill>
                <a:latin typeface="+mn-lt"/>
              </a:defRPr>
            </a:lvl8pPr>
            <a:lvl9pPr marL="3271838" indent="-184150" algn="l" rtl="0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F1A500"/>
              </a:buClr>
              <a:buSzPct val="160000"/>
              <a:buFont typeface="DIN-Regular" pitchFamily="34" charset="0"/>
              <a:buChar char="›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Bef>
                <a:spcPts val="300"/>
              </a:spcBef>
            </a:pPr>
            <a:r>
              <a:rPr lang="hu-HU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DIN-Regular" pitchFamily="34" charset="0"/>
              </a:rPr>
              <a:t>Termelés</a:t>
            </a:r>
            <a:r>
              <a:rPr lang="de-DE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DIN-Regular" pitchFamily="34" charset="0"/>
              </a:rPr>
              <a:t>i </a:t>
            </a:r>
            <a:r>
              <a:rPr lang="hu-HU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DIN-Regular" pitchFamily="34" charset="0"/>
              </a:rPr>
              <a:t>és</a:t>
            </a:r>
            <a:r>
              <a:rPr lang="de-DE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DIN-Regular" pitchFamily="34" charset="0"/>
              </a:rPr>
              <a:t> </a:t>
            </a:r>
            <a:r>
              <a:rPr lang="hu-HU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DIN-Regular" pitchFamily="34" charset="0"/>
              </a:rPr>
              <a:t>felhasznáklás</a:t>
            </a:r>
            <a:r>
              <a:rPr lang="de-DE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DIN-Regular" pitchFamily="34" charset="0"/>
              </a:rPr>
              <a:t>i</a:t>
            </a:r>
            <a:r>
              <a:rPr lang="hu-HU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DIN-Regular" pitchFamily="34" charset="0"/>
              </a:rPr>
              <a:t> mérleg</a:t>
            </a:r>
            <a:r>
              <a:rPr lang="de-DE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DIN-Regular" pitchFamily="34" charset="0"/>
              </a:rPr>
              <a:t> </a:t>
            </a:r>
            <a:endParaRPr lang="de-DE" sz="1600" b="1" dirty="0">
              <a:solidFill>
                <a:schemeClr val="tx1">
                  <a:lumMod val="75000"/>
                  <a:lumOff val="25000"/>
                </a:schemeClr>
              </a:solidFill>
              <a:latin typeface="DIN-Regular" pitchFamily="34" charset="0"/>
            </a:endParaRPr>
          </a:p>
        </p:txBody>
      </p:sp>
      <p:sp>
        <p:nvSpPr>
          <p:cNvPr id="17" name="Inhaltsplatzhalter 2"/>
          <p:cNvSpPr txBox="1">
            <a:spLocks/>
          </p:cNvSpPr>
          <p:nvPr/>
        </p:nvSpPr>
        <p:spPr bwMode="auto">
          <a:xfrm>
            <a:off x="2595482" y="4814341"/>
            <a:ext cx="913038" cy="270843"/>
          </a:xfrm>
          <a:prstGeom prst="rect">
            <a:avLst/>
          </a:prstGeom>
          <a:noFill/>
          <a:ln cap="rnd">
            <a:noFill/>
          </a:ln>
          <a:effectLst>
            <a:softEdge rad="12700"/>
          </a:effectLst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rtl="0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F1A500"/>
              </a:buClr>
              <a:buSzPct val="135000"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3538" indent="-184150" algn="l" rtl="0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F1A500"/>
              </a:buClr>
              <a:buSzPct val="160000"/>
              <a:buFont typeface="DIN-Regular" pitchFamily="34" charset="0"/>
              <a:buChar char="›"/>
              <a:defRPr>
                <a:solidFill>
                  <a:schemeClr val="tx1"/>
                </a:solidFill>
                <a:latin typeface="+mn-lt"/>
              </a:defRPr>
            </a:lvl2pPr>
            <a:lvl3pPr marL="715963" indent="-173038" algn="l" rtl="0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F1A500"/>
              </a:buClr>
              <a:buSzPct val="160000"/>
              <a:buFont typeface="DIN-Regular" pitchFamily="34" charset="0"/>
              <a:buChar char="›"/>
              <a:defRPr>
                <a:solidFill>
                  <a:schemeClr val="tx1"/>
                </a:solidFill>
                <a:latin typeface="+mn-lt"/>
              </a:defRPr>
            </a:lvl3pPr>
            <a:lvl4pPr marL="1079500" indent="-184150" algn="l" rtl="0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F1A500"/>
              </a:buClr>
              <a:buSzPct val="160000"/>
              <a:buFont typeface="DIN-Regular" pitchFamily="34" charset="0"/>
              <a:buChar char="›"/>
              <a:defRPr>
                <a:solidFill>
                  <a:schemeClr val="tx1"/>
                </a:solidFill>
                <a:latin typeface="+mn-lt"/>
              </a:defRPr>
            </a:lvl4pPr>
            <a:lvl5pPr marL="1443038" indent="-184150" algn="l" rtl="0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F1A500"/>
              </a:buClr>
              <a:buSzPct val="160000"/>
              <a:buFont typeface="DIN-Regular" pitchFamily="34" charset="0"/>
              <a:buChar char="›"/>
              <a:defRPr>
                <a:solidFill>
                  <a:schemeClr val="tx1"/>
                </a:solidFill>
                <a:latin typeface="+mn-lt"/>
              </a:defRPr>
            </a:lvl5pPr>
            <a:lvl6pPr marL="1900238" indent="-184150" algn="l" rtl="0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F1A500"/>
              </a:buClr>
              <a:buSzPct val="160000"/>
              <a:buFont typeface="DIN-Regular" pitchFamily="34" charset="0"/>
              <a:buChar char="›"/>
              <a:defRPr>
                <a:solidFill>
                  <a:schemeClr val="tx1"/>
                </a:solidFill>
                <a:latin typeface="+mn-lt"/>
              </a:defRPr>
            </a:lvl6pPr>
            <a:lvl7pPr marL="2357438" indent="-184150" algn="l" rtl="0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F1A500"/>
              </a:buClr>
              <a:buSzPct val="160000"/>
              <a:buFont typeface="DIN-Regular" pitchFamily="34" charset="0"/>
              <a:buChar char="›"/>
              <a:defRPr>
                <a:solidFill>
                  <a:schemeClr val="tx1"/>
                </a:solidFill>
                <a:latin typeface="+mn-lt"/>
              </a:defRPr>
            </a:lvl7pPr>
            <a:lvl8pPr marL="2814638" indent="-184150" algn="l" rtl="0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F1A500"/>
              </a:buClr>
              <a:buSzPct val="160000"/>
              <a:buFont typeface="DIN-Regular" pitchFamily="34" charset="0"/>
              <a:buChar char="›"/>
              <a:defRPr>
                <a:solidFill>
                  <a:schemeClr val="tx1"/>
                </a:solidFill>
                <a:latin typeface="+mn-lt"/>
              </a:defRPr>
            </a:lvl8pPr>
            <a:lvl9pPr marL="3271838" indent="-184150" algn="l" rtl="0" fontAlgn="base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F1A500"/>
              </a:buClr>
              <a:buSzPct val="160000"/>
              <a:buFont typeface="DIN-Regular" pitchFamily="34" charset="0"/>
              <a:buChar char="›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>
              <a:spcBef>
                <a:spcPts val="300"/>
              </a:spcBef>
            </a:pPr>
            <a:r>
              <a:rPr lang="de-DE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DIN-Regular" pitchFamily="34" charset="0"/>
              </a:rPr>
              <a:t>2007</a:t>
            </a:r>
            <a:endParaRPr lang="de-DE" sz="1600" b="1" dirty="0">
              <a:solidFill>
                <a:schemeClr val="tx1">
                  <a:lumMod val="75000"/>
                  <a:lumOff val="25000"/>
                </a:schemeClr>
              </a:solidFill>
              <a:latin typeface="DIN-Regular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85772539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/>
      <p:bldP spid="17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oliennummernplatzhalter 5"/>
          <p:cNvSpPr txBox="1">
            <a:spLocks noGrp="1"/>
          </p:cNvSpPr>
          <p:nvPr/>
        </p:nvSpPr>
        <p:spPr bwMode="auto">
          <a:xfrm>
            <a:off x="358775" y="6477000"/>
            <a:ext cx="360363" cy="252413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lIns="0" tIns="0" rIns="0" bIns="0"/>
          <a:lstStyle/>
          <a:p>
            <a:pPr eaLnBrk="0" hangingPunct="0">
              <a:lnSpc>
                <a:spcPct val="110000"/>
              </a:lnSpc>
              <a:spcBef>
                <a:spcPct val="50000"/>
              </a:spcBef>
              <a:defRPr/>
            </a:pPr>
            <a:fld id="{8A4CAE5C-994C-4DE6-BFFA-C0B96638DD77}" type="slidenum">
              <a:rPr lang="de-DE" sz="1200">
                <a:solidFill>
                  <a:srgbClr val="999999"/>
                </a:solidFill>
                <a:latin typeface="DIN-Regular"/>
                <a:cs typeface="+mn-cs"/>
              </a:rPr>
              <a:pPr eaLnBrk="0" hangingPunct="0">
                <a:lnSpc>
                  <a:spcPct val="110000"/>
                </a:lnSpc>
                <a:spcBef>
                  <a:spcPct val="50000"/>
                </a:spcBef>
                <a:defRPr/>
              </a:pPr>
              <a:t>6</a:t>
            </a:fld>
            <a:r>
              <a:rPr lang="de-DE" sz="1200" dirty="0">
                <a:solidFill>
                  <a:srgbClr val="999999"/>
                </a:solidFill>
                <a:latin typeface="DIN-Regular"/>
                <a:cs typeface="+mn-cs"/>
              </a:rPr>
              <a:t> </a:t>
            </a:r>
            <a:endParaRPr lang="de-DE" sz="1600" dirty="0">
              <a:solidFill>
                <a:srgbClr val="B3B3B3"/>
              </a:solidFill>
              <a:latin typeface="Times" pitchFamily="18" charset="0"/>
              <a:cs typeface="+mn-cs"/>
            </a:endParaRPr>
          </a:p>
        </p:txBody>
      </p:sp>
      <p:sp>
        <p:nvSpPr>
          <p:cNvPr id="73" name="Rectangle 3"/>
          <p:cNvSpPr>
            <a:spLocks noChangeAspect="1" noChangeArrowheads="1"/>
          </p:cNvSpPr>
          <p:nvPr/>
        </p:nvSpPr>
        <p:spPr bwMode="auto">
          <a:xfrm>
            <a:off x="528638" y="482600"/>
            <a:ext cx="6478587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r>
              <a:rPr lang="de-DE" sz="2400" dirty="0" smtClean="0">
                <a:latin typeface="DIN-Medium" pitchFamily="34" charset="0"/>
              </a:rPr>
              <a:t>Potentiale und Kraftwerke</a:t>
            </a:r>
          </a:p>
          <a:p>
            <a:r>
              <a:rPr lang="de-DE" sz="1800" i="1" dirty="0" smtClean="0">
                <a:latin typeface="+mj-lt"/>
                <a:ea typeface="+mj-ea"/>
                <a:cs typeface="+mj-cs"/>
              </a:rPr>
              <a:t>Zumeist Doubletten</a:t>
            </a:r>
            <a:endParaRPr lang="de-DE" sz="1800" i="1" dirty="0">
              <a:latin typeface="+mj-lt"/>
              <a:ea typeface="+mj-ea"/>
              <a:cs typeface="+mj-cs"/>
            </a:endParaRPr>
          </a:p>
        </p:txBody>
      </p:sp>
      <p:sp>
        <p:nvSpPr>
          <p:cNvPr id="74" name="Titel 1"/>
          <p:cNvSpPr txBox="1">
            <a:spLocks/>
          </p:cNvSpPr>
          <p:nvPr/>
        </p:nvSpPr>
        <p:spPr bwMode="auto">
          <a:xfrm>
            <a:off x="584200" y="547688"/>
            <a:ext cx="6940550" cy="1152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2000">
                <a:solidFill>
                  <a:srgbClr val="000099"/>
                </a:solidFill>
                <a:latin typeface="+mj-lt"/>
                <a:ea typeface="Lucida Sans Unicode" pitchFamily="34" charset="0"/>
                <a:cs typeface="+mj-cs"/>
              </a:defRPr>
            </a:lvl1pPr>
            <a:lvl2pPr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2000">
                <a:solidFill>
                  <a:srgbClr val="000099"/>
                </a:solidFill>
                <a:latin typeface="DIN-Medium" pitchFamily="34" charset="0"/>
                <a:ea typeface="Lucida Sans Unicode" pitchFamily="34" charset="0"/>
                <a:cs typeface="Lucida Sans Unicode" pitchFamily="34" charset="0"/>
              </a:defRPr>
            </a:lvl2pPr>
            <a:lvl3pPr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2000">
                <a:solidFill>
                  <a:srgbClr val="000099"/>
                </a:solidFill>
                <a:latin typeface="DIN-Medium" pitchFamily="34" charset="0"/>
                <a:ea typeface="Lucida Sans Unicode" pitchFamily="34" charset="0"/>
                <a:cs typeface="Lucida Sans Unicode" pitchFamily="34" charset="0"/>
              </a:defRPr>
            </a:lvl3pPr>
            <a:lvl4pPr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2000">
                <a:solidFill>
                  <a:srgbClr val="000099"/>
                </a:solidFill>
                <a:latin typeface="DIN-Medium" pitchFamily="34" charset="0"/>
                <a:ea typeface="Lucida Sans Unicode" pitchFamily="34" charset="0"/>
                <a:cs typeface="Lucida Sans Unicode" pitchFamily="34" charset="0"/>
              </a:defRPr>
            </a:lvl4pPr>
            <a:lvl5pPr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2000">
                <a:solidFill>
                  <a:srgbClr val="000099"/>
                </a:solidFill>
                <a:latin typeface="DIN-Medium" pitchFamily="34" charset="0"/>
                <a:ea typeface="Lucida Sans Unicode" pitchFamily="34" charset="0"/>
                <a:cs typeface="Lucida Sans Unicode" pitchFamily="34" charset="0"/>
              </a:defRPr>
            </a:lvl5pPr>
            <a:lvl6pPr marL="2514600" indent="-228600" algn="l" defTabSz="449263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2000">
                <a:solidFill>
                  <a:srgbClr val="000099"/>
                </a:solidFill>
                <a:latin typeface="DIN-Medium" pitchFamily="34" charset="0"/>
                <a:cs typeface="Lucida Sans Unicode" pitchFamily="34" charset="0"/>
              </a:defRPr>
            </a:lvl6pPr>
            <a:lvl7pPr marL="2971800" indent="-228600" algn="l" defTabSz="449263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2000">
                <a:solidFill>
                  <a:srgbClr val="000099"/>
                </a:solidFill>
                <a:latin typeface="DIN-Medium" pitchFamily="34" charset="0"/>
                <a:cs typeface="Lucida Sans Unicode" pitchFamily="34" charset="0"/>
              </a:defRPr>
            </a:lvl7pPr>
            <a:lvl8pPr marL="3429000" indent="-228600" algn="l" defTabSz="449263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2000">
                <a:solidFill>
                  <a:srgbClr val="000099"/>
                </a:solidFill>
                <a:latin typeface="DIN-Medium" pitchFamily="34" charset="0"/>
                <a:cs typeface="Lucida Sans Unicode" pitchFamily="34" charset="0"/>
              </a:defRPr>
            </a:lvl8pPr>
            <a:lvl9pPr marL="3886200" indent="-228600" algn="l" defTabSz="449263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2000">
                <a:solidFill>
                  <a:srgbClr val="000099"/>
                </a:solidFill>
                <a:latin typeface="DIN-Medium" pitchFamily="34" charset="0"/>
                <a:cs typeface="Lucida Sans Unicode" pitchFamily="34" charset="0"/>
              </a:defRPr>
            </a:lvl9pPr>
          </a:lstStyle>
          <a:p>
            <a:pPr>
              <a:defRPr/>
            </a:pPr>
            <a:r>
              <a:rPr lang="hu-HU" sz="2400" dirty="0" smtClean="0">
                <a:ea typeface="+mj-ea"/>
              </a:rPr>
              <a:t>Hőmérsékletek és</a:t>
            </a:r>
            <a:r>
              <a:rPr lang="de-DE" sz="2400" dirty="0" smtClean="0">
                <a:ea typeface="+mj-ea"/>
              </a:rPr>
              <a:t> </a:t>
            </a:r>
            <a:r>
              <a:rPr lang="hu-HU" sz="2400" dirty="0" smtClean="0">
                <a:ea typeface="+mj-ea"/>
              </a:rPr>
              <a:t>geológia</a:t>
            </a:r>
            <a:r>
              <a:rPr lang="de-DE" sz="2400" dirty="0" smtClean="0">
                <a:ea typeface="+mj-ea"/>
              </a:rPr>
              <a:t/>
            </a:r>
            <a:br>
              <a:rPr lang="de-DE" sz="2400" dirty="0" smtClean="0">
                <a:ea typeface="+mj-ea"/>
              </a:rPr>
            </a:br>
            <a:r>
              <a:rPr lang="hu-HU" sz="1600" i="1" dirty="0" smtClean="0">
                <a:ea typeface="+mj-ea"/>
              </a:rPr>
              <a:t>Előnyös geotermikus feltételek</a:t>
            </a:r>
            <a:r>
              <a:rPr lang="de-DE" sz="1600" i="1" dirty="0" smtClean="0"/>
              <a:t> Bruchsal</a:t>
            </a:r>
            <a:r>
              <a:rPr lang="hu-HU" sz="1600" i="1" dirty="0" smtClean="0"/>
              <a:t>-ban</a:t>
            </a:r>
            <a:r>
              <a:rPr lang="de-DE" i="1" dirty="0" smtClean="0">
                <a:ea typeface="+mj-ea"/>
              </a:rPr>
              <a:t/>
            </a:r>
            <a:br>
              <a:rPr lang="de-DE" i="1" dirty="0" smtClean="0">
                <a:ea typeface="+mj-ea"/>
              </a:rPr>
            </a:br>
            <a:endParaRPr lang="de-DE" i="1" dirty="0" smtClean="0">
              <a:ea typeface="+mj-ea"/>
            </a:endParaRPr>
          </a:p>
        </p:txBody>
      </p:sp>
      <p:grpSp>
        <p:nvGrpSpPr>
          <p:cNvPr id="9" name="Group 3"/>
          <p:cNvGrpSpPr>
            <a:grpSpLocks noChangeAspect="1"/>
          </p:cNvGrpSpPr>
          <p:nvPr/>
        </p:nvGrpSpPr>
        <p:grpSpPr bwMode="auto">
          <a:xfrm>
            <a:off x="107724" y="948232"/>
            <a:ext cx="10986065" cy="6027835"/>
            <a:chOff x="222" y="660"/>
            <a:chExt cx="5559" cy="3553"/>
          </a:xfrm>
        </p:grpSpPr>
        <p:graphicFrame>
          <p:nvGraphicFramePr>
            <p:cNvPr id="2" name="Object 4"/>
            <p:cNvGraphicFramePr>
              <a:graphicFrameLocks noChangeAspect="1"/>
            </p:cNvGraphicFramePr>
            <p:nvPr>
              <p:extLst>
                <p:ext uri="{D42A27DB-BD31-4B8C-83A1-F6EECF244321}">
                  <p14:modId xmlns:p14="http://schemas.microsoft.com/office/powerpoint/2010/main" xmlns="" val="3716387015"/>
                </p:ext>
              </p:extLst>
            </p:nvPr>
          </p:nvGraphicFramePr>
          <p:xfrm>
            <a:off x="222" y="660"/>
            <a:ext cx="5559" cy="3553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4"/>
            </a:graphicData>
          </a:graphic>
        </p:graphicFrame>
        <p:graphicFrame>
          <p:nvGraphicFramePr>
            <p:cNvPr id="12" name="Object 5"/>
            <p:cNvGraphicFramePr>
              <a:graphicFrameLocks noChangeAspect="1"/>
            </p:cNvGraphicFramePr>
            <p:nvPr/>
          </p:nvGraphicFramePr>
          <p:xfrm>
            <a:off x="3923" y="1071"/>
            <a:ext cx="525" cy="2715"/>
          </p:xfrm>
          <a:graphic>
            <a:graphicData uri="http://schemas.openxmlformats.org/presentationml/2006/ole">
              <p:oleObj spid="_x0000_s56392" name="Photo Editor Photo" r:id="rId5" imgW="3971429" imgH="20542857" progId="">
                <p:embed/>
              </p:oleObj>
            </a:graphicData>
          </a:graphic>
        </p:graphicFrame>
        <p:sp>
          <p:nvSpPr>
            <p:cNvPr id="13" name="Line 6"/>
            <p:cNvSpPr>
              <a:spLocks noChangeAspect="1" noChangeShapeType="1"/>
            </p:cNvSpPr>
            <p:nvPr/>
          </p:nvSpPr>
          <p:spPr bwMode="auto">
            <a:xfrm>
              <a:off x="1065" y="1253"/>
              <a:ext cx="2813" cy="2449"/>
            </a:xfrm>
            <a:prstGeom prst="line">
              <a:avLst/>
            </a:prstGeom>
            <a:noFill/>
            <a:ln w="12700">
              <a:solidFill>
                <a:schemeClr val="accent2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  <p:txBody>
            <a:bodyPr lIns="36000" tIns="0" bIns="0" anchor="b">
              <a:spAutoFit/>
            </a:bodyPr>
            <a:lstStyle/>
            <a:p>
              <a:endParaRPr lang="de-DE"/>
            </a:p>
          </p:txBody>
        </p:sp>
        <p:sp>
          <p:nvSpPr>
            <p:cNvPr id="14" name="Text Box 7"/>
            <p:cNvSpPr txBox="1">
              <a:spLocks noChangeAspect="1" noChangeArrowheads="1"/>
            </p:cNvSpPr>
            <p:nvPr/>
          </p:nvSpPr>
          <p:spPr bwMode="auto">
            <a:xfrm>
              <a:off x="3085" y="3433"/>
              <a:ext cx="405" cy="13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36000" tIns="0" bIns="0" anchor="b">
              <a:spAutoFit/>
            </a:bodyPr>
            <a:lstStyle>
              <a:lvl1pPr>
                <a:defRPr sz="1400">
                  <a:solidFill>
                    <a:srgbClr val="000099"/>
                  </a:solidFill>
                  <a:latin typeface="DIN-Regular" pitchFamily="34" charset="0"/>
                </a:defRPr>
              </a:lvl1pPr>
              <a:lvl2pPr marL="742950" indent="-285750">
                <a:defRPr sz="1400">
                  <a:solidFill>
                    <a:srgbClr val="000099"/>
                  </a:solidFill>
                  <a:latin typeface="DIN-Regular" pitchFamily="34" charset="0"/>
                </a:defRPr>
              </a:lvl2pPr>
              <a:lvl3pPr marL="1143000" indent="-228600">
                <a:defRPr sz="1400">
                  <a:solidFill>
                    <a:srgbClr val="000099"/>
                  </a:solidFill>
                  <a:latin typeface="DIN-Regular" pitchFamily="34" charset="0"/>
                </a:defRPr>
              </a:lvl3pPr>
              <a:lvl4pPr marL="1600200" indent="-228600">
                <a:defRPr sz="1400">
                  <a:solidFill>
                    <a:srgbClr val="000099"/>
                  </a:solidFill>
                  <a:latin typeface="DIN-Regular" pitchFamily="34" charset="0"/>
                </a:defRPr>
              </a:lvl4pPr>
              <a:lvl5pPr marL="2057400" indent="-228600">
                <a:defRPr sz="1400">
                  <a:solidFill>
                    <a:srgbClr val="000099"/>
                  </a:solidFill>
                  <a:latin typeface="DIN-Regular" pitchFamily="34" charset="0"/>
                </a:defRPr>
              </a:lvl5pPr>
              <a:lvl6pPr marL="2514600" indent="-228600" eaLnBrk="0" fontAlgn="base" hangingPunct="0">
                <a:lnSpc>
                  <a:spcPct val="110000"/>
                </a:lnSpc>
                <a:spcBef>
                  <a:spcPct val="50000"/>
                </a:spcBef>
                <a:spcAft>
                  <a:spcPct val="0"/>
                </a:spcAft>
                <a:defRPr sz="1400">
                  <a:solidFill>
                    <a:srgbClr val="000099"/>
                  </a:solidFill>
                  <a:latin typeface="DIN-Regular" pitchFamily="34" charset="0"/>
                </a:defRPr>
              </a:lvl6pPr>
              <a:lvl7pPr marL="2971800" indent="-228600" eaLnBrk="0" fontAlgn="base" hangingPunct="0">
                <a:lnSpc>
                  <a:spcPct val="110000"/>
                </a:lnSpc>
                <a:spcBef>
                  <a:spcPct val="50000"/>
                </a:spcBef>
                <a:spcAft>
                  <a:spcPct val="0"/>
                </a:spcAft>
                <a:defRPr sz="1400">
                  <a:solidFill>
                    <a:srgbClr val="000099"/>
                  </a:solidFill>
                  <a:latin typeface="DIN-Regular" pitchFamily="34" charset="0"/>
                </a:defRPr>
              </a:lvl7pPr>
              <a:lvl8pPr marL="3429000" indent="-228600" eaLnBrk="0" fontAlgn="base" hangingPunct="0">
                <a:lnSpc>
                  <a:spcPct val="110000"/>
                </a:lnSpc>
                <a:spcBef>
                  <a:spcPct val="50000"/>
                </a:spcBef>
                <a:spcAft>
                  <a:spcPct val="0"/>
                </a:spcAft>
                <a:defRPr sz="1400">
                  <a:solidFill>
                    <a:srgbClr val="000099"/>
                  </a:solidFill>
                  <a:latin typeface="DIN-Regular" pitchFamily="34" charset="0"/>
                </a:defRPr>
              </a:lvl8pPr>
              <a:lvl9pPr marL="3886200" indent="-228600" eaLnBrk="0" fontAlgn="base" hangingPunct="0">
                <a:lnSpc>
                  <a:spcPct val="110000"/>
                </a:lnSpc>
                <a:spcBef>
                  <a:spcPct val="50000"/>
                </a:spcBef>
                <a:spcAft>
                  <a:spcPct val="0"/>
                </a:spcAft>
                <a:defRPr sz="1400">
                  <a:solidFill>
                    <a:srgbClr val="000099"/>
                  </a:solidFill>
                  <a:latin typeface="DIN-Regular" pitchFamily="34" charset="0"/>
                </a:defRPr>
              </a:lvl9pPr>
            </a:lstStyle>
            <a:p>
              <a:r>
                <a:rPr lang="de-DE">
                  <a:solidFill>
                    <a:schemeClr val="accent2"/>
                  </a:solidFill>
                  <a:latin typeface="DIN-Light" pitchFamily="34" charset="0"/>
                </a:rPr>
                <a:t>5K/100m</a:t>
              </a:r>
              <a:endParaRPr lang="en-GB">
                <a:solidFill>
                  <a:schemeClr val="accent2"/>
                </a:solidFill>
                <a:latin typeface="DIN-Light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xmlns="" val="1918313216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9" name="Foliennummernplatzhalter 5"/>
          <p:cNvSpPr txBox="1">
            <a:spLocks noGrp="1"/>
          </p:cNvSpPr>
          <p:nvPr/>
        </p:nvSpPr>
        <p:spPr bwMode="auto">
          <a:xfrm>
            <a:off x="358775" y="6477000"/>
            <a:ext cx="360363" cy="25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 sz="1400">
                <a:solidFill>
                  <a:srgbClr val="000099"/>
                </a:solidFill>
                <a:latin typeface="DIN-Regular" pitchFamily="34" charset="0"/>
              </a:defRPr>
            </a:lvl1pPr>
            <a:lvl2pPr marL="742950" indent="-285750">
              <a:defRPr sz="1400">
                <a:solidFill>
                  <a:srgbClr val="000099"/>
                </a:solidFill>
                <a:latin typeface="DIN-Regular" pitchFamily="34" charset="0"/>
              </a:defRPr>
            </a:lvl2pPr>
            <a:lvl3pPr marL="1143000" indent="-228600">
              <a:defRPr sz="1400">
                <a:solidFill>
                  <a:srgbClr val="000099"/>
                </a:solidFill>
                <a:latin typeface="DIN-Regular" pitchFamily="34" charset="0"/>
              </a:defRPr>
            </a:lvl3pPr>
            <a:lvl4pPr marL="1600200" indent="-228600">
              <a:defRPr sz="1400">
                <a:solidFill>
                  <a:srgbClr val="000099"/>
                </a:solidFill>
                <a:latin typeface="DIN-Regular" pitchFamily="34" charset="0"/>
              </a:defRPr>
            </a:lvl4pPr>
            <a:lvl5pPr marL="2057400" indent="-228600">
              <a:defRPr sz="1400">
                <a:solidFill>
                  <a:srgbClr val="000099"/>
                </a:solidFill>
                <a:latin typeface="DIN-Regular" pitchFamily="34" charset="0"/>
              </a:defRPr>
            </a:lvl5pPr>
            <a:lvl6pPr marL="25146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1400">
                <a:solidFill>
                  <a:srgbClr val="000099"/>
                </a:solidFill>
                <a:latin typeface="DIN-Regular" pitchFamily="34" charset="0"/>
              </a:defRPr>
            </a:lvl6pPr>
            <a:lvl7pPr marL="29718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1400">
                <a:solidFill>
                  <a:srgbClr val="000099"/>
                </a:solidFill>
                <a:latin typeface="DIN-Regular" pitchFamily="34" charset="0"/>
              </a:defRPr>
            </a:lvl7pPr>
            <a:lvl8pPr marL="34290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1400">
                <a:solidFill>
                  <a:srgbClr val="000099"/>
                </a:solidFill>
                <a:latin typeface="DIN-Regular" pitchFamily="34" charset="0"/>
              </a:defRPr>
            </a:lvl8pPr>
            <a:lvl9pPr marL="38862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1400">
                <a:solidFill>
                  <a:srgbClr val="000099"/>
                </a:solidFill>
                <a:latin typeface="DIN-Regular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</a:pPr>
            <a:fld id="{6F70B7C0-87A5-4710-B04B-5167BF4E7A34}" type="slidenum">
              <a:rPr lang="de-DE" sz="1200">
                <a:solidFill>
                  <a:srgbClr val="999999"/>
                </a:solidFill>
              </a:rPr>
              <a:pPr>
                <a:lnSpc>
                  <a:spcPct val="100000"/>
                </a:lnSpc>
                <a:spcBef>
                  <a:spcPct val="0"/>
                </a:spcBef>
              </a:pPr>
              <a:t>7</a:t>
            </a:fld>
            <a:r>
              <a:rPr lang="de-DE" sz="1200">
                <a:solidFill>
                  <a:srgbClr val="999999"/>
                </a:solidFill>
              </a:rPr>
              <a:t> </a:t>
            </a:r>
            <a:endParaRPr lang="de-DE">
              <a:solidFill>
                <a:srgbClr val="B3B3B3"/>
              </a:solidFill>
              <a:latin typeface="Times" pitchFamily="18" charset="0"/>
            </a:endParaRPr>
          </a:p>
        </p:txBody>
      </p:sp>
      <p:pic>
        <p:nvPicPr>
          <p:cNvPr id="34820" name="Picture 1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82613" y="1678235"/>
            <a:ext cx="8193087" cy="2182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4821" name="Rectangle 3"/>
          <p:cNvSpPr>
            <a:spLocks noChangeAspect="1" noChangeArrowheads="1"/>
          </p:cNvSpPr>
          <p:nvPr/>
        </p:nvSpPr>
        <p:spPr bwMode="auto">
          <a:xfrm>
            <a:off x="528638" y="482600"/>
            <a:ext cx="6478587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>
              <a:lnSpc>
                <a:spcPct val="100000"/>
              </a:lnSpc>
              <a:spcBef>
                <a:spcPct val="0"/>
              </a:spcBef>
            </a:pPr>
            <a:r>
              <a:rPr lang="de-DE" sz="2000">
                <a:latin typeface="DIN-Medium" pitchFamily="34" charset="0"/>
              </a:rPr>
              <a:t>Projekthistorie</a:t>
            </a:r>
          </a:p>
        </p:txBody>
      </p:sp>
      <p:sp>
        <p:nvSpPr>
          <p:cNvPr id="34822" name="Rectangle 8"/>
          <p:cNvSpPr>
            <a:spLocks noChangeAspect="1" noChangeArrowheads="1"/>
          </p:cNvSpPr>
          <p:nvPr/>
        </p:nvSpPr>
        <p:spPr bwMode="auto">
          <a:xfrm>
            <a:off x="528638" y="4231828"/>
            <a:ext cx="7254875" cy="20774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marL="180975" lvl="1" indent="-180975" eaLnBrk="1" hangingPunct="1">
              <a:lnSpc>
                <a:spcPct val="150000"/>
              </a:lnSpc>
              <a:buClr>
                <a:srgbClr val="F1A500"/>
              </a:buClr>
              <a:buSzPct val="135000"/>
              <a:buFont typeface="DIN-Regular" pitchFamily="34" charset="0"/>
              <a:buChar char="›"/>
              <a:tabLst>
                <a:tab pos="266700" algn="l"/>
              </a:tabLst>
            </a:pPr>
            <a:r>
              <a:rPr lang="de-DE" dirty="0" smtClean="0">
                <a:solidFill>
                  <a:srgbClr val="4D4D4D"/>
                </a:solidFill>
              </a:rPr>
              <a:t>H</a:t>
            </a:r>
            <a:r>
              <a:rPr lang="hu-HU" dirty="0" smtClean="0">
                <a:solidFill>
                  <a:srgbClr val="4D4D4D"/>
                </a:solidFill>
              </a:rPr>
              <a:t>őmérséklet</a:t>
            </a:r>
            <a:r>
              <a:rPr lang="de-DE" sz="1800" dirty="0" smtClean="0">
                <a:solidFill>
                  <a:srgbClr val="4D4D4D"/>
                </a:solidFill>
              </a:rPr>
              <a:t> </a:t>
            </a:r>
            <a:r>
              <a:rPr lang="hu-HU" sz="1800" dirty="0" smtClean="0">
                <a:solidFill>
                  <a:srgbClr val="4D4D4D"/>
                </a:solidFill>
              </a:rPr>
              <a:t>a víztárolóban</a:t>
            </a:r>
            <a:r>
              <a:rPr lang="de-DE" sz="1800" dirty="0" smtClean="0">
                <a:solidFill>
                  <a:srgbClr val="4D4D4D"/>
                </a:solidFill>
              </a:rPr>
              <a:t> </a:t>
            </a:r>
            <a:r>
              <a:rPr lang="de-DE" sz="1800" dirty="0">
                <a:solidFill>
                  <a:srgbClr val="4D4D4D"/>
                </a:solidFill>
              </a:rPr>
              <a:t>131°C</a:t>
            </a:r>
          </a:p>
          <a:p>
            <a:pPr marL="180975" lvl="1" indent="-180975" eaLnBrk="1" hangingPunct="1">
              <a:lnSpc>
                <a:spcPct val="150000"/>
              </a:lnSpc>
              <a:buClr>
                <a:srgbClr val="F1A500"/>
              </a:buClr>
              <a:buSzPct val="135000"/>
              <a:buFont typeface="DIN-Regular" pitchFamily="34" charset="0"/>
              <a:buChar char="›"/>
              <a:tabLst>
                <a:tab pos="266700" algn="l"/>
              </a:tabLst>
            </a:pPr>
            <a:r>
              <a:rPr lang="hu-HU" dirty="0" smtClean="0">
                <a:solidFill>
                  <a:srgbClr val="4D4D4D"/>
                </a:solidFill>
              </a:rPr>
              <a:t>Kiaknázási ráták</a:t>
            </a:r>
            <a:r>
              <a:rPr lang="de-DE" sz="1800" dirty="0" smtClean="0">
                <a:solidFill>
                  <a:srgbClr val="4D4D4D"/>
                </a:solidFill>
              </a:rPr>
              <a:t> </a:t>
            </a:r>
            <a:r>
              <a:rPr lang="hu-HU" sz="1800" dirty="0" smtClean="0">
                <a:solidFill>
                  <a:srgbClr val="4D4D4D"/>
                </a:solidFill>
              </a:rPr>
              <a:t>kb</a:t>
            </a:r>
            <a:r>
              <a:rPr lang="de-DE" sz="1800" dirty="0" smtClean="0">
                <a:solidFill>
                  <a:srgbClr val="4D4D4D"/>
                </a:solidFill>
              </a:rPr>
              <a:t> </a:t>
            </a:r>
            <a:r>
              <a:rPr lang="de-DE" sz="1800" dirty="0">
                <a:solidFill>
                  <a:srgbClr val="4D4D4D"/>
                </a:solidFill>
              </a:rPr>
              <a:t>30 </a:t>
            </a:r>
            <a:r>
              <a:rPr lang="de-DE" sz="1800" dirty="0" smtClean="0">
                <a:solidFill>
                  <a:srgbClr val="4D4D4D"/>
                </a:solidFill>
              </a:rPr>
              <a:t>l/s </a:t>
            </a:r>
            <a:r>
              <a:rPr lang="hu-HU" dirty="0" smtClean="0">
                <a:solidFill>
                  <a:srgbClr val="4D4D4D"/>
                </a:solidFill>
              </a:rPr>
              <a:t>lehetégesek</a:t>
            </a:r>
            <a:endParaRPr lang="de-DE" sz="1800" dirty="0">
              <a:solidFill>
                <a:srgbClr val="4D4D4D"/>
              </a:solidFill>
            </a:endParaRPr>
          </a:p>
          <a:p>
            <a:pPr marL="180975" lvl="1" indent="-180975" eaLnBrk="1" hangingPunct="1">
              <a:lnSpc>
                <a:spcPct val="150000"/>
              </a:lnSpc>
              <a:buClr>
                <a:srgbClr val="F1A500"/>
              </a:buClr>
              <a:buSzPct val="135000"/>
              <a:buFont typeface="DIN-Regular" pitchFamily="34" charset="0"/>
              <a:buChar char="›"/>
              <a:tabLst>
                <a:tab pos="266700" algn="l"/>
              </a:tabLst>
            </a:pPr>
            <a:r>
              <a:rPr lang="hu-HU" dirty="0" smtClean="0">
                <a:solidFill>
                  <a:srgbClr val="4D4D4D"/>
                </a:solidFill>
              </a:rPr>
              <a:t>Nagyon magas sótartalmak</a:t>
            </a:r>
            <a:r>
              <a:rPr lang="de-DE" sz="1800" dirty="0" smtClean="0">
                <a:solidFill>
                  <a:srgbClr val="4D4D4D"/>
                </a:solidFill>
              </a:rPr>
              <a:t> </a:t>
            </a:r>
            <a:r>
              <a:rPr lang="de-DE" sz="1800" dirty="0">
                <a:solidFill>
                  <a:srgbClr val="4D4D4D"/>
                </a:solidFill>
              </a:rPr>
              <a:t>130 g/l</a:t>
            </a:r>
          </a:p>
          <a:p>
            <a:pPr marL="180975" lvl="1" indent="-180975" eaLnBrk="1" hangingPunct="1">
              <a:lnSpc>
                <a:spcPct val="150000"/>
              </a:lnSpc>
              <a:buClr>
                <a:srgbClr val="F1A500"/>
              </a:buClr>
              <a:buSzPct val="135000"/>
              <a:buFont typeface="DIN-Regular" pitchFamily="34" charset="0"/>
              <a:buChar char="›"/>
              <a:tabLst>
                <a:tab pos="266700" algn="l"/>
              </a:tabLst>
            </a:pPr>
            <a:r>
              <a:rPr lang="hu-HU" dirty="0" smtClean="0">
                <a:solidFill>
                  <a:srgbClr val="4D4D4D"/>
                </a:solidFill>
              </a:rPr>
              <a:t>Nagyon öreg víz</a:t>
            </a:r>
            <a:r>
              <a:rPr lang="de-DE" sz="1800" dirty="0" smtClean="0">
                <a:solidFill>
                  <a:srgbClr val="4D4D4D"/>
                </a:solidFill>
              </a:rPr>
              <a:t> </a:t>
            </a:r>
            <a:r>
              <a:rPr lang="de-DE" sz="1800" dirty="0">
                <a:solidFill>
                  <a:srgbClr val="4D4D4D"/>
                </a:solidFill>
              </a:rPr>
              <a:t>(&gt; 10 Mill. a)</a:t>
            </a:r>
          </a:p>
          <a:p>
            <a:pPr marL="180975" lvl="1" indent="-180975" eaLnBrk="1" hangingPunct="1">
              <a:lnSpc>
                <a:spcPct val="150000"/>
              </a:lnSpc>
              <a:buClr>
                <a:srgbClr val="F1A500"/>
              </a:buClr>
              <a:buSzPct val="135000"/>
              <a:buFont typeface="DIN-Regular" pitchFamily="34" charset="0"/>
              <a:buChar char="›"/>
              <a:tabLst>
                <a:tab pos="266700" algn="l"/>
              </a:tabLst>
            </a:pPr>
            <a:r>
              <a:rPr lang="de-DE" sz="1800" dirty="0" smtClean="0">
                <a:solidFill>
                  <a:srgbClr val="4D4D4D"/>
                </a:solidFill>
              </a:rPr>
              <a:t>Komplex </a:t>
            </a:r>
            <a:r>
              <a:rPr lang="hu-HU" sz="1800" dirty="0" smtClean="0">
                <a:solidFill>
                  <a:srgbClr val="4D4D4D"/>
                </a:solidFill>
              </a:rPr>
              <a:t>geológia</a:t>
            </a:r>
            <a:r>
              <a:rPr lang="de-DE" sz="1800" dirty="0" smtClean="0">
                <a:solidFill>
                  <a:srgbClr val="4D4D4D"/>
                </a:solidFill>
              </a:rPr>
              <a:t> </a:t>
            </a:r>
            <a:r>
              <a:rPr lang="hu-HU" sz="1800" dirty="0" smtClean="0">
                <a:solidFill>
                  <a:srgbClr val="4D4D4D"/>
                </a:solidFill>
              </a:rPr>
              <a:t>és </a:t>
            </a:r>
            <a:r>
              <a:rPr lang="de-DE" sz="1800" dirty="0" smtClean="0">
                <a:solidFill>
                  <a:srgbClr val="4D4D4D"/>
                </a:solidFill>
              </a:rPr>
              <a:t> </a:t>
            </a:r>
            <a:r>
              <a:rPr lang="hu-HU" sz="1800" dirty="0" smtClean="0">
                <a:solidFill>
                  <a:srgbClr val="4D4D4D"/>
                </a:solidFill>
              </a:rPr>
              <a:t>hidraulika</a:t>
            </a:r>
            <a:endParaRPr lang="de-DE" sz="1800" dirty="0">
              <a:solidFill>
                <a:srgbClr val="4D4D4D"/>
              </a:solidFill>
            </a:endParaRPr>
          </a:p>
        </p:txBody>
      </p:sp>
      <p:sp>
        <p:nvSpPr>
          <p:cNvPr id="8" name="Titel 1"/>
          <p:cNvSpPr txBox="1">
            <a:spLocks/>
          </p:cNvSpPr>
          <p:nvPr/>
        </p:nvSpPr>
        <p:spPr bwMode="auto">
          <a:xfrm>
            <a:off x="584200" y="547688"/>
            <a:ext cx="6940550" cy="1152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2000">
                <a:solidFill>
                  <a:srgbClr val="000099"/>
                </a:solidFill>
                <a:latin typeface="+mj-lt"/>
                <a:ea typeface="Lucida Sans Unicode" pitchFamily="34" charset="0"/>
                <a:cs typeface="+mj-cs"/>
              </a:defRPr>
            </a:lvl1pPr>
            <a:lvl2pPr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2000">
                <a:solidFill>
                  <a:srgbClr val="000099"/>
                </a:solidFill>
                <a:latin typeface="DIN-Medium" pitchFamily="34" charset="0"/>
                <a:ea typeface="Lucida Sans Unicode" pitchFamily="34" charset="0"/>
                <a:cs typeface="Lucida Sans Unicode" pitchFamily="34" charset="0"/>
              </a:defRPr>
            </a:lvl2pPr>
            <a:lvl3pPr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2000">
                <a:solidFill>
                  <a:srgbClr val="000099"/>
                </a:solidFill>
                <a:latin typeface="DIN-Medium" pitchFamily="34" charset="0"/>
                <a:ea typeface="Lucida Sans Unicode" pitchFamily="34" charset="0"/>
                <a:cs typeface="Lucida Sans Unicode" pitchFamily="34" charset="0"/>
              </a:defRPr>
            </a:lvl3pPr>
            <a:lvl4pPr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2000">
                <a:solidFill>
                  <a:srgbClr val="000099"/>
                </a:solidFill>
                <a:latin typeface="DIN-Medium" pitchFamily="34" charset="0"/>
                <a:ea typeface="Lucida Sans Unicode" pitchFamily="34" charset="0"/>
                <a:cs typeface="Lucida Sans Unicode" pitchFamily="34" charset="0"/>
              </a:defRPr>
            </a:lvl4pPr>
            <a:lvl5pPr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2000">
                <a:solidFill>
                  <a:srgbClr val="000099"/>
                </a:solidFill>
                <a:latin typeface="DIN-Medium" pitchFamily="34" charset="0"/>
                <a:ea typeface="Lucida Sans Unicode" pitchFamily="34" charset="0"/>
                <a:cs typeface="Lucida Sans Unicode" pitchFamily="34" charset="0"/>
              </a:defRPr>
            </a:lvl5pPr>
            <a:lvl6pPr marL="2514600" indent="-228600" algn="l" defTabSz="449263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2000">
                <a:solidFill>
                  <a:srgbClr val="000099"/>
                </a:solidFill>
                <a:latin typeface="DIN-Medium" pitchFamily="34" charset="0"/>
                <a:cs typeface="Lucida Sans Unicode" pitchFamily="34" charset="0"/>
              </a:defRPr>
            </a:lvl6pPr>
            <a:lvl7pPr marL="2971800" indent="-228600" algn="l" defTabSz="449263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2000">
                <a:solidFill>
                  <a:srgbClr val="000099"/>
                </a:solidFill>
                <a:latin typeface="DIN-Medium" pitchFamily="34" charset="0"/>
                <a:cs typeface="Lucida Sans Unicode" pitchFamily="34" charset="0"/>
              </a:defRPr>
            </a:lvl7pPr>
            <a:lvl8pPr marL="3429000" indent="-228600" algn="l" defTabSz="449263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2000">
                <a:solidFill>
                  <a:srgbClr val="000099"/>
                </a:solidFill>
                <a:latin typeface="DIN-Medium" pitchFamily="34" charset="0"/>
                <a:cs typeface="Lucida Sans Unicode" pitchFamily="34" charset="0"/>
              </a:defRPr>
            </a:lvl8pPr>
            <a:lvl9pPr marL="3886200" indent="-228600" algn="l" defTabSz="449263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2000">
                <a:solidFill>
                  <a:srgbClr val="000099"/>
                </a:solidFill>
                <a:latin typeface="DIN-Medium" pitchFamily="34" charset="0"/>
                <a:cs typeface="Lucida Sans Unicode" pitchFamily="34" charset="0"/>
              </a:defRPr>
            </a:lvl9pPr>
          </a:lstStyle>
          <a:p>
            <a:pPr>
              <a:defRPr/>
            </a:pPr>
            <a:r>
              <a:rPr lang="hu-HU" sz="2400" dirty="0" smtClean="0">
                <a:ea typeface="+mj-ea"/>
              </a:rPr>
              <a:t> A Bruchsali geotermikus erőmű története</a:t>
            </a:r>
            <a:r>
              <a:rPr lang="de-DE" sz="2400" dirty="0" smtClean="0">
                <a:ea typeface="+mj-ea"/>
              </a:rPr>
              <a:t/>
            </a:r>
            <a:br>
              <a:rPr lang="de-DE" sz="2400" dirty="0" smtClean="0">
                <a:ea typeface="+mj-ea"/>
              </a:rPr>
            </a:br>
            <a:r>
              <a:rPr lang="hu-HU" sz="1600" i="1" dirty="0" smtClean="0"/>
              <a:t> Hőből áram</a:t>
            </a:r>
            <a:r>
              <a:rPr lang="de-DE" dirty="0" smtClean="0"/>
              <a:t> </a:t>
            </a:r>
            <a:r>
              <a:rPr lang="de-DE" dirty="0" smtClean="0">
                <a:ea typeface="+mj-ea"/>
              </a:rPr>
              <a:t/>
            </a:r>
            <a:br>
              <a:rPr lang="de-DE" dirty="0" smtClean="0">
                <a:ea typeface="+mj-ea"/>
              </a:rPr>
            </a:br>
            <a:endParaRPr lang="de-DE" dirty="0" smtClean="0">
              <a:ea typeface="+mj-ea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85535082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Foliennummernplatzhalter 5"/>
          <p:cNvSpPr txBox="1">
            <a:spLocks noGrp="1"/>
          </p:cNvSpPr>
          <p:nvPr/>
        </p:nvSpPr>
        <p:spPr bwMode="auto">
          <a:xfrm>
            <a:off x="358775" y="6477000"/>
            <a:ext cx="360363" cy="25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 sz="1400">
                <a:solidFill>
                  <a:srgbClr val="000099"/>
                </a:solidFill>
                <a:latin typeface="DIN-Regular" pitchFamily="34" charset="0"/>
              </a:defRPr>
            </a:lvl1pPr>
            <a:lvl2pPr marL="742950" indent="-285750">
              <a:defRPr sz="1400">
                <a:solidFill>
                  <a:srgbClr val="000099"/>
                </a:solidFill>
                <a:latin typeface="DIN-Regular" pitchFamily="34" charset="0"/>
              </a:defRPr>
            </a:lvl2pPr>
            <a:lvl3pPr marL="1143000" indent="-228600">
              <a:defRPr sz="1400">
                <a:solidFill>
                  <a:srgbClr val="000099"/>
                </a:solidFill>
                <a:latin typeface="DIN-Regular" pitchFamily="34" charset="0"/>
              </a:defRPr>
            </a:lvl3pPr>
            <a:lvl4pPr marL="1600200" indent="-228600">
              <a:defRPr sz="1400">
                <a:solidFill>
                  <a:srgbClr val="000099"/>
                </a:solidFill>
                <a:latin typeface="DIN-Regular" pitchFamily="34" charset="0"/>
              </a:defRPr>
            </a:lvl4pPr>
            <a:lvl5pPr marL="2057400" indent="-228600">
              <a:defRPr sz="1400">
                <a:solidFill>
                  <a:srgbClr val="000099"/>
                </a:solidFill>
                <a:latin typeface="DIN-Regular" pitchFamily="34" charset="0"/>
              </a:defRPr>
            </a:lvl5pPr>
            <a:lvl6pPr marL="25146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1400">
                <a:solidFill>
                  <a:srgbClr val="000099"/>
                </a:solidFill>
                <a:latin typeface="DIN-Regular" pitchFamily="34" charset="0"/>
              </a:defRPr>
            </a:lvl6pPr>
            <a:lvl7pPr marL="29718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1400">
                <a:solidFill>
                  <a:srgbClr val="000099"/>
                </a:solidFill>
                <a:latin typeface="DIN-Regular" pitchFamily="34" charset="0"/>
              </a:defRPr>
            </a:lvl7pPr>
            <a:lvl8pPr marL="34290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1400">
                <a:solidFill>
                  <a:srgbClr val="000099"/>
                </a:solidFill>
                <a:latin typeface="DIN-Regular" pitchFamily="34" charset="0"/>
              </a:defRPr>
            </a:lvl8pPr>
            <a:lvl9pPr marL="38862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1400">
                <a:solidFill>
                  <a:srgbClr val="000099"/>
                </a:solidFill>
                <a:latin typeface="DIN-Regular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</a:pPr>
            <a:fld id="{F3F8AE52-31DE-40B1-9CAC-1D0D42C3B854}" type="slidenum">
              <a:rPr lang="de-DE" sz="1200">
                <a:solidFill>
                  <a:srgbClr val="999999"/>
                </a:solidFill>
              </a:rPr>
              <a:pPr>
                <a:lnSpc>
                  <a:spcPct val="100000"/>
                </a:lnSpc>
                <a:spcBef>
                  <a:spcPct val="0"/>
                </a:spcBef>
              </a:pPr>
              <a:t>8</a:t>
            </a:fld>
            <a:r>
              <a:rPr lang="de-DE" sz="1200">
                <a:solidFill>
                  <a:srgbClr val="999999"/>
                </a:solidFill>
              </a:rPr>
              <a:t> </a:t>
            </a:r>
            <a:endParaRPr lang="de-DE">
              <a:solidFill>
                <a:srgbClr val="B3B3B3"/>
              </a:solidFill>
              <a:latin typeface="Times" pitchFamily="18" charset="0"/>
            </a:endParaRPr>
          </a:p>
        </p:txBody>
      </p:sp>
      <p:sp>
        <p:nvSpPr>
          <p:cNvPr id="20483" name="Rectangle 3"/>
          <p:cNvSpPr>
            <a:spLocks noChangeAspect="1" noChangeArrowheads="1"/>
          </p:cNvSpPr>
          <p:nvPr/>
        </p:nvSpPr>
        <p:spPr bwMode="auto">
          <a:xfrm>
            <a:off x="528638" y="482600"/>
            <a:ext cx="6478587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>
              <a:lnSpc>
                <a:spcPct val="100000"/>
              </a:lnSpc>
              <a:spcBef>
                <a:spcPct val="0"/>
              </a:spcBef>
            </a:pPr>
            <a:r>
              <a:rPr lang="de-DE" sz="2000">
                <a:latin typeface="DIN-Medium" pitchFamily="34" charset="0"/>
              </a:rPr>
              <a:t>Salinity &amp; Scaling</a:t>
            </a:r>
          </a:p>
        </p:txBody>
      </p:sp>
      <p:pic>
        <p:nvPicPr>
          <p:cNvPr id="20484" name="Picture 10" descr="InkrustationGasfackel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043608" y="1723300"/>
            <a:ext cx="6337300" cy="4753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485" name="Text Box 3"/>
          <p:cNvSpPr txBox="1">
            <a:spLocks noChangeArrowheads="1"/>
          </p:cNvSpPr>
          <p:nvPr/>
        </p:nvSpPr>
        <p:spPr bwMode="auto">
          <a:xfrm>
            <a:off x="5555792" y="6513513"/>
            <a:ext cx="1852613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46800">
            <a:spAutoFit/>
          </a:bodyPr>
          <a:lstStyle>
            <a:lvl1pPr>
              <a:defRPr sz="1400">
                <a:solidFill>
                  <a:srgbClr val="000099"/>
                </a:solidFill>
                <a:latin typeface="DIN-Regular" pitchFamily="34" charset="0"/>
              </a:defRPr>
            </a:lvl1pPr>
            <a:lvl2pPr marL="742950" indent="-285750">
              <a:defRPr sz="1400">
                <a:solidFill>
                  <a:srgbClr val="000099"/>
                </a:solidFill>
                <a:latin typeface="DIN-Regular" pitchFamily="34" charset="0"/>
              </a:defRPr>
            </a:lvl2pPr>
            <a:lvl3pPr marL="1143000" indent="-228600">
              <a:defRPr sz="1400">
                <a:solidFill>
                  <a:srgbClr val="000099"/>
                </a:solidFill>
                <a:latin typeface="DIN-Regular" pitchFamily="34" charset="0"/>
              </a:defRPr>
            </a:lvl3pPr>
            <a:lvl4pPr marL="1600200" indent="-228600">
              <a:defRPr sz="1400">
                <a:solidFill>
                  <a:srgbClr val="000099"/>
                </a:solidFill>
                <a:latin typeface="DIN-Regular" pitchFamily="34" charset="0"/>
              </a:defRPr>
            </a:lvl4pPr>
            <a:lvl5pPr marL="2057400" indent="-228600">
              <a:defRPr sz="1400">
                <a:solidFill>
                  <a:srgbClr val="000099"/>
                </a:solidFill>
                <a:latin typeface="DIN-Regular" pitchFamily="34" charset="0"/>
              </a:defRPr>
            </a:lvl5pPr>
            <a:lvl6pPr marL="25146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1400">
                <a:solidFill>
                  <a:srgbClr val="000099"/>
                </a:solidFill>
                <a:latin typeface="DIN-Regular" pitchFamily="34" charset="0"/>
              </a:defRPr>
            </a:lvl6pPr>
            <a:lvl7pPr marL="29718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1400">
                <a:solidFill>
                  <a:srgbClr val="000099"/>
                </a:solidFill>
                <a:latin typeface="DIN-Regular" pitchFamily="34" charset="0"/>
              </a:defRPr>
            </a:lvl7pPr>
            <a:lvl8pPr marL="34290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1400">
                <a:solidFill>
                  <a:srgbClr val="000099"/>
                </a:solidFill>
                <a:latin typeface="DIN-Regular" pitchFamily="34" charset="0"/>
              </a:defRPr>
            </a:lvl8pPr>
            <a:lvl9pPr marL="38862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1400">
                <a:solidFill>
                  <a:srgbClr val="000099"/>
                </a:solidFill>
                <a:latin typeface="DIN-Regular" pitchFamily="34" charset="0"/>
              </a:defRPr>
            </a:lvl9pPr>
          </a:lstStyle>
          <a:p>
            <a:pPr algn="r"/>
            <a:r>
              <a:rPr lang="en-GB" sz="1000" dirty="0">
                <a:solidFill>
                  <a:srgbClr val="979797"/>
                </a:solidFill>
              </a:rPr>
              <a:t>Ref.: </a:t>
            </a:r>
            <a:r>
              <a:rPr lang="en-GB" sz="1000" dirty="0" err="1">
                <a:solidFill>
                  <a:srgbClr val="979797"/>
                </a:solidFill>
              </a:rPr>
              <a:t>ewb</a:t>
            </a:r>
            <a:r>
              <a:rPr lang="en-GB" sz="1000" dirty="0">
                <a:solidFill>
                  <a:srgbClr val="979797"/>
                </a:solidFill>
              </a:rPr>
              <a:t> 2005</a:t>
            </a:r>
          </a:p>
        </p:txBody>
      </p:sp>
      <p:sp>
        <p:nvSpPr>
          <p:cNvPr id="8" name="Titel 1"/>
          <p:cNvSpPr txBox="1">
            <a:spLocks/>
          </p:cNvSpPr>
          <p:nvPr/>
        </p:nvSpPr>
        <p:spPr bwMode="auto">
          <a:xfrm>
            <a:off x="584200" y="547688"/>
            <a:ext cx="6940550" cy="1152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2000">
                <a:solidFill>
                  <a:srgbClr val="000099"/>
                </a:solidFill>
                <a:latin typeface="+mj-lt"/>
                <a:ea typeface="Lucida Sans Unicode" pitchFamily="34" charset="0"/>
                <a:cs typeface="+mj-cs"/>
              </a:defRPr>
            </a:lvl1pPr>
            <a:lvl2pPr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2000">
                <a:solidFill>
                  <a:srgbClr val="000099"/>
                </a:solidFill>
                <a:latin typeface="DIN-Medium" pitchFamily="34" charset="0"/>
                <a:ea typeface="Lucida Sans Unicode" pitchFamily="34" charset="0"/>
                <a:cs typeface="Lucida Sans Unicode" pitchFamily="34" charset="0"/>
              </a:defRPr>
            </a:lvl2pPr>
            <a:lvl3pPr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2000">
                <a:solidFill>
                  <a:srgbClr val="000099"/>
                </a:solidFill>
                <a:latin typeface="DIN-Medium" pitchFamily="34" charset="0"/>
                <a:ea typeface="Lucida Sans Unicode" pitchFamily="34" charset="0"/>
                <a:cs typeface="Lucida Sans Unicode" pitchFamily="34" charset="0"/>
              </a:defRPr>
            </a:lvl3pPr>
            <a:lvl4pPr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2000">
                <a:solidFill>
                  <a:srgbClr val="000099"/>
                </a:solidFill>
                <a:latin typeface="DIN-Medium" pitchFamily="34" charset="0"/>
                <a:ea typeface="Lucida Sans Unicode" pitchFamily="34" charset="0"/>
                <a:cs typeface="Lucida Sans Unicode" pitchFamily="34" charset="0"/>
              </a:defRPr>
            </a:lvl4pPr>
            <a:lvl5pPr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2000">
                <a:solidFill>
                  <a:srgbClr val="000099"/>
                </a:solidFill>
                <a:latin typeface="DIN-Medium" pitchFamily="34" charset="0"/>
                <a:ea typeface="Lucida Sans Unicode" pitchFamily="34" charset="0"/>
                <a:cs typeface="Lucida Sans Unicode" pitchFamily="34" charset="0"/>
              </a:defRPr>
            </a:lvl5pPr>
            <a:lvl6pPr marL="2514600" indent="-228600" algn="l" defTabSz="449263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2000">
                <a:solidFill>
                  <a:srgbClr val="000099"/>
                </a:solidFill>
                <a:latin typeface="DIN-Medium" pitchFamily="34" charset="0"/>
                <a:cs typeface="Lucida Sans Unicode" pitchFamily="34" charset="0"/>
              </a:defRPr>
            </a:lvl6pPr>
            <a:lvl7pPr marL="2971800" indent="-228600" algn="l" defTabSz="449263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2000">
                <a:solidFill>
                  <a:srgbClr val="000099"/>
                </a:solidFill>
                <a:latin typeface="DIN-Medium" pitchFamily="34" charset="0"/>
                <a:cs typeface="Lucida Sans Unicode" pitchFamily="34" charset="0"/>
              </a:defRPr>
            </a:lvl7pPr>
            <a:lvl8pPr marL="3429000" indent="-228600" algn="l" defTabSz="449263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2000">
                <a:solidFill>
                  <a:srgbClr val="000099"/>
                </a:solidFill>
                <a:latin typeface="DIN-Medium" pitchFamily="34" charset="0"/>
                <a:cs typeface="Lucida Sans Unicode" pitchFamily="34" charset="0"/>
              </a:defRPr>
            </a:lvl8pPr>
            <a:lvl9pPr marL="3886200" indent="-228600" algn="l" defTabSz="449263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2000">
                <a:solidFill>
                  <a:srgbClr val="000099"/>
                </a:solidFill>
                <a:latin typeface="DIN-Medium" pitchFamily="34" charset="0"/>
                <a:cs typeface="Lucida Sans Unicode" pitchFamily="34" charset="0"/>
              </a:defRPr>
            </a:lvl9pPr>
          </a:lstStyle>
          <a:p>
            <a:pPr>
              <a:defRPr/>
            </a:pPr>
            <a:r>
              <a:rPr lang="hu-HU" sz="2400" dirty="0" smtClean="0">
                <a:ea typeface="+mj-ea"/>
              </a:rPr>
              <a:t>A Bruchsal-i geotermikus erőmű története</a:t>
            </a:r>
            <a:r>
              <a:rPr lang="de-DE" sz="2400" dirty="0" smtClean="0">
                <a:ea typeface="+mj-ea"/>
              </a:rPr>
              <a:t/>
            </a:r>
            <a:br>
              <a:rPr lang="de-DE" sz="2400" dirty="0" smtClean="0">
                <a:ea typeface="+mj-ea"/>
              </a:rPr>
            </a:br>
            <a:r>
              <a:rPr lang="hu-HU" sz="1600" i="1" dirty="0" smtClean="0"/>
              <a:t> Hőből áram</a:t>
            </a:r>
            <a:r>
              <a:rPr lang="de-DE" dirty="0" smtClean="0"/>
              <a:t> </a:t>
            </a:r>
            <a:r>
              <a:rPr lang="de-DE" dirty="0" smtClean="0">
                <a:ea typeface="+mj-ea"/>
              </a:rPr>
              <a:t/>
            </a:r>
            <a:br>
              <a:rPr lang="de-DE" dirty="0" smtClean="0">
                <a:ea typeface="+mj-ea"/>
              </a:rPr>
            </a:br>
            <a:endParaRPr lang="de-DE" dirty="0" smtClean="0">
              <a:ea typeface="+mj-ea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80939442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hteck 13"/>
          <p:cNvSpPr/>
          <p:nvPr/>
        </p:nvSpPr>
        <p:spPr bwMode="auto">
          <a:xfrm>
            <a:off x="7704138" y="1239838"/>
            <a:ext cx="1439862" cy="5618162"/>
          </a:xfrm>
          <a:prstGeom prst="rect">
            <a:avLst/>
          </a:prstGeom>
          <a:solidFill>
            <a:schemeClr val="accent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36000" tIns="0" bIns="0" anchor="b">
            <a:spAutoFit/>
          </a:bodyPr>
          <a:lstStyle/>
          <a:p>
            <a:pPr>
              <a:defRPr/>
            </a:pPr>
            <a:endParaRPr lang="de-DE"/>
          </a:p>
        </p:txBody>
      </p:sp>
      <p:sp>
        <p:nvSpPr>
          <p:cNvPr id="35843" name="Foliennummernplatzhalter 5"/>
          <p:cNvSpPr txBox="1">
            <a:spLocks noGrp="1"/>
          </p:cNvSpPr>
          <p:nvPr/>
        </p:nvSpPr>
        <p:spPr bwMode="auto">
          <a:xfrm>
            <a:off x="358775" y="6477000"/>
            <a:ext cx="360363" cy="25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 sz="1400">
                <a:solidFill>
                  <a:srgbClr val="000099"/>
                </a:solidFill>
                <a:latin typeface="DIN-Regular" pitchFamily="34" charset="0"/>
              </a:defRPr>
            </a:lvl1pPr>
            <a:lvl2pPr marL="742950" indent="-285750">
              <a:defRPr sz="1400">
                <a:solidFill>
                  <a:srgbClr val="000099"/>
                </a:solidFill>
                <a:latin typeface="DIN-Regular" pitchFamily="34" charset="0"/>
              </a:defRPr>
            </a:lvl2pPr>
            <a:lvl3pPr marL="1143000" indent="-228600">
              <a:defRPr sz="1400">
                <a:solidFill>
                  <a:srgbClr val="000099"/>
                </a:solidFill>
                <a:latin typeface="DIN-Regular" pitchFamily="34" charset="0"/>
              </a:defRPr>
            </a:lvl3pPr>
            <a:lvl4pPr marL="1600200" indent="-228600">
              <a:defRPr sz="1400">
                <a:solidFill>
                  <a:srgbClr val="000099"/>
                </a:solidFill>
                <a:latin typeface="DIN-Regular" pitchFamily="34" charset="0"/>
              </a:defRPr>
            </a:lvl4pPr>
            <a:lvl5pPr marL="2057400" indent="-228600">
              <a:defRPr sz="1400">
                <a:solidFill>
                  <a:srgbClr val="000099"/>
                </a:solidFill>
                <a:latin typeface="DIN-Regular" pitchFamily="34" charset="0"/>
              </a:defRPr>
            </a:lvl5pPr>
            <a:lvl6pPr marL="25146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1400">
                <a:solidFill>
                  <a:srgbClr val="000099"/>
                </a:solidFill>
                <a:latin typeface="DIN-Regular" pitchFamily="34" charset="0"/>
              </a:defRPr>
            </a:lvl6pPr>
            <a:lvl7pPr marL="29718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1400">
                <a:solidFill>
                  <a:srgbClr val="000099"/>
                </a:solidFill>
                <a:latin typeface="DIN-Regular" pitchFamily="34" charset="0"/>
              </a:defRPr>
            </a:lvl7pPr>
            <a:lvl8pPr marL="34290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1400">
                <a:solidFill>
                  <a:srgbClr val="000099"/>
                </a:solidFill>
                <a:latin typeface="DIN-Regular" pitchFamily="34" charset="0"/>
              </a:defRPr>
            </a:lvl8pPr>
            <a:lvl9pPr marL="38862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1400">
                <a:solidFill>
                  <a:srgbClr val="000099"/>
                </a:solidFill>
                <a:latin typeface="DIN-Regular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</a:pPr>
            <a:fld id="{D77D1320-4B77-404C-A673-843FC95907A4}" type="slidenum">
              <a:rPr lang="de-DE" sz="1200">
                <a:solidFill>
                  <a:srgbClr val="999999"/>
                </a:solidFill>
              </a:rPr>
              <a:pPr>
                <a:lnSpc>
                  <a:spcPct val="100000"/>
                </a:lnSpc>
                <a:spcBef>
                  <a:spcPct val="0"/>
                </a:spcBef>
              </a:pPr>
              <a:t>9</a:t>
            </a:fld>
            <a:r>
              <a:rPr lang="de-DE" sz="1200">
                <a:solidFill>
                  <a:srgbClr val="999999"/>
                </a:solidFill>
              </a:rPr>
              <a:t> </a:t>
            </a:r>
            <a:endParaRPr lang="de-DE">
              <a:solidFill>
                <a:srgbClr val="B3B3B3"/>
              </a:solidFill>
              <a:latin typeface="Times" pitchFamily="18" charset="0"/>
            </a:endParaRPr>
          </a:p>
        </p:txBody>
      </p:sp>
      <p:pic>
        <p:nvPicPr>
          <p:cNvPr id="35844" name="Picture 1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82613" y="1678235"/>
            <a:ext cx="8193087" cy="2182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35845" name="Group 23"/>
          <p:cNvGrpSpPr>
            <a:grpSpLocks noChangeAspect="1"/>
          </p:cNvGrpSpPr>
          <p:nvPr/>
        </p:nvGrpSpPr>
        <p:grpSpPr bwMode="auto">
          <a:xfrm>
            <a:off x="254570" y="4509120"/>
            <a:ext cx="8997950" cy="2395538"/>
            <a:chOff x="322" y="2790"/>
            <a:chExt cx="5348" cy="1424"/>
          </a:xfrm>
        </p:grpSpPr>
        <p:grpSp>
          <p:nvGrpSpPr>
            <p:cNvPr id="35848" name="Gruppieren 22"/>
            <p:cNvGrpSpPr>
              <a:grpSpLocks noChangeAspect="1"/>
            </p:cNvGrpSpPr>
            <p:nvPr/>
          </p:nvGrpSpPr>
          <p:grpSpPr bwMode="auto">
            <a:xfrm>
              <a:off x="322" y="2790"/>
              <a:ext cx="5348" cy="1424"/>
              <a:chOff x="510639" y="4318644"/>
              <a:chExt cx="8490857" cy="2260286"/>
            </a:xfrm>
          </p:grpSpPr>
          <p:pic>
            <p:nvPicPr>
              <p:cNvPr id="35850" name="Picture 5" descr="CIMG3727"/>
              <p:cNvPicPr>
                <a:picLocks noChangeAspect="1" noChangeArrowheads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xmlns="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96842" y="4354265"/>
                <a:ext cx="2416175" cy="169386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35851" name="Text Box 6"/>
              <p:cNvSpPr txBox="1">
                <a:spLocks noChangeArrowheads="1"/>
              </p:cNvSpPr>
              <p:nvPr/>
            </p:nvSpPr>
            <p:spPr bwMode="auto">
              <a:xfrm>
                <a:off x="2603393" y="4318644"/>
                <a:ext cx="624680" cy="31605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36000" tIns="0" bIns="0" anchor="b">
                <a:spAutoFit/>
              </a:bodyPr>
              <a:lstStyle>
                <a:lvl1pPr>
                  <a:defRPr sz="1400">
                    <a:solidFill>
                      <a:srgbClr val="000099"/>
                    </a:solidFill>
                    <a:latin typeface="DIN-Regular" pitchFamily="34" charset="0"/>
                  </a:defRPr>
                </a:lvl1pPr>
                <a:lvl2pPr marL="742950" indent="-285750">
                  <a:defRPr sz="1400">
                    <a:solidFill>
                      <a:srgbClr val="000099"/>
                    </a:solidFill>
                    <a:latin typeface="DIN-Regular" pitchFamily="34" charset="0"/>
                  </a:defRPr>
                </a:lvl2pPr>
                <a:lvl3pPr marL="1143000" indent="-228600">
                  <a:defRPr sz="1400">
                    <a:solidFill>
                      <a:srgbClr val="000099"/>
                    </a:solidFill>
                    <a:latin typeface="DIN-Regular" pitchFamily="34" charset="0"/>
                  </a:defRPr>
                </a:lvl3pPr>
                <a:lvl4pPr marL="1600200" indent="-228600">
                  <a:defRPr sz="1400">
                    <a:solidFill>
                      <a:srgbClr val="000099"/>
                    </a:solidFill>
                    <a:latin typeface="DIN-Regular" pitchFamily="34" charset="0"/>
                  </a:defRPr>
                </a:lvl4pPr>
                <a:lvl5pPr marL="2057400" indent="-228600">
                  <a:defRPr sz="1400">
                    <a:solidFill>
                      <a:srgbClr val="000099"/>
                    </a:solidFill>
                    <a:latin typeface="DIN-Regular" pitchFamily="34" charset="0"/>
                  </a:defRPr>
                </a:lvl5pPr>
                <a:lvl6pPr marL="2514600" indent="-228600" eaLnBrk="0" fontAlgn="base" hangingPunct="0">
                  <a:lnSpc>
                    <a:spcPct val="110000"/>
                  </a:lnSpc>
                  <a:spcBef>
                    <a:spcPct val="50000"/>
                  </a:spcBef>
                  <a:spcAft>
                    <a:spcPct val="0"/>
                  </a:spcAft>
                  <a:defRPr sz="1400">
                    <a:solidFill>
                      <a:srgbClr val="000099"/>
                    </a:solidFill>
                    <a:latin typeface="DIN-Regular" pitchFamily="34" charset="0"/>
                  </a:defRPr>
                </a:lvl6pPr>
                <a:lvl7pPr marL="2971800" indent="-228600" eaLnBrk="0" fontAlgn="base" hangingPunct="0">
                  <a:lnSpc>
                    <a:spcPct val="110000"/>
                  </a:lnSpc>
                  <a:spcBef>
                    <a:spcPct val="50000"/>
                  </a:spcBef>
                  <a:spcAft>
                    <a:spcPct val="0"/>
                  </a:spcAft>
                  <a:defRPr sz="1400">
                    <a:solidFill>
                      <a:srgbClr val="000099"/>
                    </a:solidFill>
                    <a:latin typeface="DIN-Regular" pitchFamily="34" charset="0"/>
                  </a:defRPr>
                </a:lvl7pPr>
                <a:lvl8pPr marL="3429000" indent="-228600" eaLnBrk="0" fontAlgn="base" hangingPunct="0">
                  <a:lnSpc>
                    <a:spcPct val="110000"/>
                  </a:lnSpc>
                  <a:spcBef>
                    <a:spcPct val="50000"/>
                  </a:spcBef>
                  <a:spcAft>
                    <a:spcPct val="0"/>
                  </a:spcAft>
                  <a:defRPr sz="1400">
                    <a:solidFill>
                      <a:srgbClr val="000099"/>
                    </a:solidFill>
                    <a:latin typeface="DIN-Regular" pitchFamily="34" charset="0"/>
                  </a:defRPr>
                </a:lvl8pPr>
                <a:lvl9pPr marL="3886200" indent="-228600" eaLnBrk="0" fontAlgn="base" hangingPunct="0">
                  <a:lnSpc>
                    <a:spcPct val="110000"/>
                  </a:lnSpc>
                  <a:spcBef>
                    <a:spcPct val="50000"/>
                  </a:spcBef>
                  <a:spcAft>
                    <a:spcPct val="0"/>
                  </a:spcAft>
                  <a:defRPr sz="1400">
                    <a:solidFill>
                      <a:srgbClr val="000099"/>
                    </a:solidFill>
                    <a:latin typeface="DIN-Regular" pitchFamily="34" charset="0"/>
                  </a:defRPr>
                </a:lvl9pPr>
              </a:lstStyle>
              <a:p>
                <a:r>
                  <a:rPr lang="de-DE" sz="2000">
                    <a:solidFill>
                      <a:srgbClr val="F1A500"/>
                    </a:solidFill>
                    <a:cs typeface="Arial" charset="0"/>
                  </a:rPr>
                  <a:t>2007</a:t>
                </a:r>
                <a:endParaRPr lang="en-GB" sz="2000">
                  <a:solidFill>
                    <a:srgbClr val="F1A500"/>
                  </a:solidFill>
                  <a:cs typeface="Arial" charset="0"/>
                </a:endParaRPr>
              </a:p>
            </p:txBody>
          </p:sp>
          <p:pic>
            <p:nvPicPr>
              <p:cNvPr id="35852" name="Picture 14" descr="8540TK22"/>
              <p:cNvPicPr>
                <a:picLocks noChangeAspect="1" noChangeArrowheads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 xmlns="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259492" y="4354265"/>
                <a:ext cx="2416175" cy="161131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35853" name="Picture 3" descr="08"/>
              <p:cNvPicPr>
                <a:picLocks noChangeAspect="1" noChangeArrowheads="1"/>
              </p:cNvPicPr>
              <p:nvPr/>
            </p:nvPicPr>
            <p:blipFill>
              <a:blip r:embed="rId6" cstate="print">
                <a:extLst>
                  <a:ext uri="{28A0092B-C50C-407E-A947-70E740481C1C}">
                    <a14:useLocalDpi xmlns:a14="http://schemas.microsoft.com/office/drawing/2010/main" xmlns="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542393" y="4354265"/>
                <a:ext cx="2417763" cy="181451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35854" name="Text Box 6"/>
              <p:cNvSpPr txBox="1">
                <a:spLocks noChangeArrowheads="1"/>
              </p:cNvSpPr>
              <p:nvPr/>
            </p:nvSpPr>
            <p:spPr bwMode="auto">
              <a:xfrm>
                <a:off x="5314835" y="4342610"/>
                <a:ext cx="624680" cy="31605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36000" tIns="0" bIns="0" anchor="b">
                <a:spAutoFit/>
              </a:bodyPr>
              <a:lstStyle>
                <a:lvl1pPr>
                  <a:defRPr sz="1400">
                    <a:solidFill>
                      <a:srgbClr val="000099"/>
                    </a:solidFill>
                    <a:latin typeface="DIN-Regular" pitchFamily="34" charset="0"/>
                  </a:defRPr>
                </a:lvl1pPr>
                <a:lvl2pPr marL="742950" indent="-285750">
                  <a:defRPr sz="1400">
                    <a:solidFill>
                      <a:srgbClr val="000099"/>
                    </a:solidFill>
                    <a:latin typeface="DIN-Regular" pitchFamily="34" charset="0"/>
                  </a:defRPr>
                </a:lvl2pPr>
                <a:lvl3pPr marL="1143000" indent="-228600">
                  <a:defRPr sz="1400">
                    <a:solidFill>
                      <a:srgbClr val="000099"/>
                    </a:solidFill>
                    <a:latin typeface="DIN-Regular" pitchFamily="34" charset="0"/>
                  </a:defRPr>
                </a:lvl3pPr>
                <a:lvl4pPr marL="1600200" indent="-228600">
                  <a:defRPr sz="1400">
                    <a:solidFill>
                      <a:srgbClr val="000099"/>
                    </a:solidFill>
                    <a:latin typeface="DIN-Regular" pitchFamily="34" charset="0"/>
                  </a:defRPr>
                </a:lvl4pPr>
                <a:lvl5pPr marL="2057400" indent="-228600">
                  <a:defRPr sz="1400">
                    <a:solidFill>
                      <a:srgbClr val="000099"/>
                    </a:solidFill>
                    <a:latin typeface="DIN-Regular" pitchFamily="34" charset="0"/>
                  </a:defRPr>
                </a:lvl5pPr>
                <a:lvl6pPr marL="2514600" indent="-228600" eaLnBrk="0" fontAlgn="base" hangingPunct="0">
                  <a:lnSpc>
                    <a:spcPct val="110000"/>
                  </a:lnSpc>
                  <a:spcBef>
                    <a:spcPct val="50000"/>
                  </a:spcBef>
                  <a:spcAft>
                    <a:spcPct val="0"/>
                  </a:spcAft>
                  <a:defRPr sz="1400">
                    <a:solidFill>
                      <a:srgbClr val="000099"/>
                    </a:solidFill>
                    <a:latin typeface="DIN-Regular" pitchFamily="34" charset="0"/>
                  </a:defRPr>
                </a:lvl6pPr>
                <a:lvl7pPr marL="2971800" indent="-228600" eaLnBrk="0" fontAlgn="base" hangingPunct="0">
                  <a:lnSpc>
                    <a:spcPct val="110000"/>
                  </a:lnSpc>
                  <a:spcBef>
                    <a:spcPct val="50000"/>
                  </a:spcBef>
                  <a:spcAft>
                    <a:spcPct val="0"/>
                  </a:spcAft>
                  <a:defRPr sz="1400">
                    <a:solidFill>
                      <a:srgbClr val="000099"/>
                    </a:solidFill>
                    <a:latin typeface="DIN-Regular" pitchFamily="34" charset="0"/>
                  </a:defRPr>
                </a:lvl7pPr>
                <a:lvl8pPr marL="3429000" indent="-228600" eaLnBrk="0" fontAlgn="base" hangingPunct="0">
                  <a:lnSpc>
                    <a:spcPct val="110000"/>
                  </a:lnSpc>
                  <a:spcBef>
                    <a:spcPct val="50000"/>
                  </a:spcBef>
                  <a:spcAft>
                    <a:spcPct val="0"/>
                  </a:spcAft>
                  <a:defRPr sz="1400">
                    <a:solidFill>
                      <a:srgbClr val="000099"/>
                    </a:solidFill>
                    <a:latin typeface="DIN-Regular" pitchFamily="34" charset="0"/>
                  </a:defRPr>
                </a:lvl8pPr>
                <a:lvl9pPr marL="3886200" indent="-228600" eaLnBrk="0" fontAlgn="base" hangingPunct="0">
                  <a:lnSpc>
                    <a:spcPct val="110000"/>
                  </a:lnSpc>
                  <a:spcBef>
                    <a:spcPct val="50000"/>
                  </a:spcBef>
                  <a:spcAft>
                    <a:spcPct val="0"/>
                  </a:spcAft>
                  <a:defRPr sz="1400">
                    <a:solidFill>
                      <a:srgbClr val="000099"/>
                    </a:solidFill>
                    <a:latin typeface="DIN-Regular" pitchFamily="34" charset="0"/>
                  </a:defRPr>
                </a:lvl9pPr>
              </a:lstStyle>
              <a:p>
                <a:r>
                  <a:rPr lang="de-DE" sz="2000">
                    <a:solidFill>
                      <a:srgbClr val="F1A500"/>
                    </a:solidFill>
                    <a:cs typeface="Arial" charset="0"/>
                  </a:rPr>
                  <a:t>2008</a:t>
                </a:r>
                <a:endParaRPr lang="en-GB" sz="2000">
                  <a:solidFill>
                    <a:srgbClr val="F1A500"/>
                  </a:solidFill>
                  <a:cs typeface="Arial" charset="0"/>
                </a:endParaRPr>
              </a:p>
            </p:txBody>
          </p:sp>
          <p:sp>
            <p:nvSpPr>
              <p:cNvPr id="35855" name="Text Box 6"/>
              <p:cNvSpPr txBox="1">
                <a:spLocks noChangeArrowheads="1"/>
              </p:cNvSpPr>
              <p:nvPr/>
            </p:nvSpPr>
            <p:spPr bwMode="auto">
              <a:xfrm>
                <a:off x="8023280" y="4318644"/>
                <a:ext cx="624680" cy="31605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36000" tIns="0" bIns="0" anchor="b">
                <a:spAutoFit/>
              </a:bodyPr>
              <a:lstStyle>
                <a:lvl1pPr>
                  <a:defRPr sz="1400">
                    <a:solidFill>
                      <a:srgbClr val="000099"/>
                    </a:solidFill>
                    <a:latin typeface="DIN-Regular" pitchFamily="34" charset="0"/>
                  </a:defRPr>
                </a:lvl1pPr>
                <a:lvl2pPr marL="742950" indent="-285750">
                  <a:defRPr sz="1400">
                    <a:solidFill>
                      <a:srgbClr val="000099"/>
                    </a:solidFill>
                    <a:latin typeface="DIN-Regular" pitchFamily="34" charset="0"/>
                  </a:defRPr>
                </a:lvl2pPr>
                <a:lvl3pPr marL="1143000" indent="-228600">
                  <a:defRPr sz="1400">
                    <a:solidFill>
                      <a:srgbClr val="000099"/>
                    </a:solidFill>
                    <a:latin typeface="DIN-Regular" pitchFamily="34" charset="0"/>
                  </a:defRPr>
                </a:lvl3pPr>
                <a:lvl4pPr marL="1600200" indent="-228600">
                  <a:defRPr sz="1400">
                    <a:solidFill>
                      <a:srgbClr val="000099"/>
                    </a:solidFill>
                    <a:latin typeface="DIN-Regular" pitchFamily="34" charset="0"/>
                  </a:defRPr>
                </a:lvl4pPr>
                <a:lvl5pPr marL="2057400" indent="-228600">
                  <a:defRPr sz="1400">
                    <a:solidFill>
                      <a:srgbClr val="000099"/>
                    </a:solidFill>
                    <a:latin typeface="DIN-Regular" pitchFamily="34" charset="0"/>
                  </a:defRPr>
                </a:lvl5pPr>
                <a:lvl6pPr marL="2514600" indent="-228600" eaLnBrk="0" fontAlgn="base" hangingPunct="0">
                  <a:lnSpc>
                    <a:spcPct val="110000"/>
                  </a:lnSpc>
                  <a:spcBef>
                    <a:spcPct val="50000"/>
                  </a:spcBef>
                  <a:spcAft>
                    <a:spcPct val="0"/>
                  </a:spcAft>
                  <a:defRPr sz="1400">
                    <a:solidFill>
                      <a:srgbClr val="000099"/>
                    </a:solidFill>
                    <a:latin typeface="DIN-Regular" pitchFamily="34" charset="0"/>
                  </a:defRPr>
                </a:lvl6pPr>
                <a:lvl7pPr marL="2971800" indent="-228600" eaLnBrk="0" fontAlgn="base" hangingPunct="0">
                  <a:lnSpc>
                    <a:spcPct val="110000"/>
                  </a:lnSpc>
                  <a:spcBef>
                    <a:spcPct val="50000"/>
                  </a:spcBef>
                  <a:spcAft>
                    <a:spcPct val="0"/>
                  </a:spcAft>
                  <a:defRPr sz="1400">
                    <a:solidFill>
                      <a:srgbClr val="000099"/>
                    </a:solidFill>
                    <a:latin typeface="DIN-Regular" pitchFamily="34" charset="0"/>
                  </a:defRPr>
                </a:lvl7pPr>
                <a:lvl8pPr marL="3429000" indent="-228600" eaLnBrk="0" fontAlgn="base" hangingPunct="0">
                  <a:lnSpc>
                    <a:spcPct val="110000"/>
                  </a:lnSpc>
                  <a:spcBef>
                    <a:spcPct val="50000"/>
                  </a:spcBef>
                  <a:spcAft>
                    <a:spcPct val="0"/>
                  </a:spcAft>
                  <a:defRPr sz="1400">
                    <a:solidFill>
                      <a:srgbClr val="000099"/>
                    </a:solidFill>
                    <a:latin typeface="DIN-Regular" pitchFamily="34" charset="0"/>
                  </a:defRPr>
                </a:lvl8pPr>
                <a:lvl9pPr marL="3886200" indent="-228600" eaLnBrk="0" fontAlgn="base" hangingPunct="0">
                  <a:lnSpc>
                    <a:spcPct val="110000"/>
                  </a:lnSpc>
                  <a:spcBef>
                    <a:spcPct val="50000"/>
                  </a:spcBef>
                  <a:spcAft>
                    <a:spcPct val="0"/>
                  </a:spcAft>
                  <a:defRPr sz="1400">
                    <a:solidFill>
                      <a:srgbClr val="000099"/>
                    </a:solidFill>
                    <a:latin typeface="DIN-Regular" pitchFamily="34" charset="0"/>
                  </a:defRPr>
                </a:lvl9pPr>
              </a:lstStyle>
              <a:p>
                <a:r>
                  <a:rPr lang="de-DE" sz="2000" dirty="0">
                    <a:solidFill>
                      <a:srgbClr val="F1A500"/>
                    </a:solidFill>
                    <a:cs typeface="Arial" charset="0"/>
                  </a:rPr>
                  <a:t>2009</a:t>
                </a:r>
                <a:endParaRPr lang="en-GB" sz="2000" dirty="0">
                  <a:solidFill>
                    <a:srgbClr val="F1A500"/>
                  </a:solidFill>
                  <a:cs typeface="Arial" charset="0"/>
                </a:endParaRPr>
              </a:p>
            </p:txBody>
          </p:sp>
          <p:sp>
            <p:nvSpPr>
              <p:cNvPr id="35856" name="Rechteck 21"/>
              <p:cNvSpPr>
                <a:spLocks noChangeAspect="1" noChangeArrowheads="1"/>
              </p:cNvSpPr>
              <p:nvPr/>
            </p:nvSpPr>
            <p:spPr bwMode="auto">
              <a:xfrm>
                <a:off x="510639" y="6358743"/>
                <a:ext cx="8490857" cy="220187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 algn="ctr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lIns="36000" tIns="0" bIns="0" anchor="b">
                <a:spAutoFit/>
              </a:bodyPr>
              <a:lstStyle/>
              <a:p>
                <a:endParaRPr lang="de-DE"/>
              </a:p>
            </p:txBody>
          </p:sp>
        </p:grpSp>
        <p:sp>
          <p:nvSpPr>
            <p:cNvPr id="35849" name="Rectangle 22"/>
            <p:cNvSpPr>
              <a:spLocks noChangeAspect="1" noChangeArrowheads="1"/>
            </p:cNvSpPr>
            <p:nvPr/>
          </p:nvSpPr>
          <p:spPr bwMode="auto">
            <a:xfrm>
              <a:off x="471" y="3817"/>
              <a:ext cx="5035" cy="22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36000" tIns="0" bIns="0" anchor="ctr">
              <a:spAutoFit/>
            </a:bodyPr>
            <a:lstStyle/>
            <a:p>
              <a:endParaRPr lang="de-DE"/>
            </a:p>
          </p:txBody>
        </p:sp>
      </p:grpSp>
      <p:sp>
        <p:nvSpPr>
          <p:cNvPr id="35846" name="Rectangle 3"/>
          <p:cNvSpPr>
            <a:spLocks noChangeAspect="1" noChangeArrowheads="1"/>
          </p:cNvSpPr>
          <p:nvPr/>
        </p:nvSpPr>
        <p:spPr bwMode="auto">
          <a:xfrm>
            <a:off x="528638" y="482600"/>
            <a:ext cx="6478587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>
              <a:lnSpc>
                <a:spcPct val="100000"/>
              </a:lnSpc>
              <a:spcBef>
                <a:spcPct val="0"/>
              </a:spcBef>
            </a:pPr>
            <a:r>
              <a:rPr lang="de-DE" sz="2000" dirty="0">
                <a:latin typeface="DIN-Medium" pitchFamily="34" charset="0"/>
              </a:rPr>
              <a:t>Projekthistorie</a:t>
            </a:r>
          </a:p>
        </p:txBody>
      </p:sp>
      <p:sp>
        <p:nvSpPr>
          <p:cNvPr id="18" name="Titel 1"/>
          <p:cNvSpPr txBox="1">
            <a:spLocks/>
          </p:cNvSpPr>
          <p:nvPr/>
        </p:nvSpPr>
        <p:spPr bwMode="auto">
          <a:xfrm>
            <a:off x="584200" y="547688"/>
            <a:ext cx="6940550" cy="1152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2000">
                <a:solidFill>
                  <a:srgbClr val="000099"/>
                </a:solidFill>
                <a:latin typeface="+mj-lt"/>
                <a:ea typeface="Lucida Sans Unicode" pitchFamily="34" charset="0"/>
                <a:cs typeface="+mj-cs"/>
              </a:defRPr>
            </a:lvl1pPr>
            <a:lvl2pPr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2000">
                <a:solidFill>
                  <a:srgbClr val="000099"/>
                </a:solidFill>
                <a:latin typeface="DIN-Medium" pitchFamily="34" charset="0"/>
                <a:ea typeface="Lucida Sans Unicode" pitchFamily="34" charset="0"/>
                <a:cs typeface="Lucida Sans Unicode" pitchFamily="34" charset="0"/>
              </a:defRPr>
            </a:lvl2pPr>
            <a:lvl3pPr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2000">
                <a:solidFill>
                  <a:srgbClr val="000099"/>
                </a:solidFill>
                <a:latin typeface="DIN-Medium" pitchFamily="34" charset="0"/>
                <a:ea typeface="Lucida Sans Unicode" pitchFamily="34" charset="0"/>
                <a:cs typeface="Lucida Sans Unicode" pitchFamily="34" charset="0"/>
              </a:defRPr>
            </a:lvl3pPr>
            <a:lvl4pPr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2000">
                <a:solidFill>
                  <a:srgbClr val="000099"/>
                </a:solidFill>
                <a:latin typeface="DIN-Medium" pitchFamily="34" charset="0"/>
                <a:ea typeface="Lucida Sans Unicode" pitchFamily="34" charset="0"/>
                <a:cs typeface="Lucida Sans Unicode" pitchFamily="34" charset="0"/>
              </a:defRPr>
            </a:lvl4pPr>
            <a:lvl5pPr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2000">
                <a:solidFill>
                  <a:srgbClr val="000099"/>
                </a:solidFill>
                <a:latin typeface="DIN-Medium" pitchFamily="34" charset="0"/>
                <a:ea typeface="Lucida Sans Unicode" pitchFamily="34" charset="0"/>
                <a:cs typeface="Lucida Sans Unicode" pitchFamily="34" charset="0"/>
              </a:defRPr>
            </a:lvl5pPr>
            <a:lvl6pPr marL="2514600" indent="-228600" algn="l" defTabSz="449263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2000">
                <a:solidFill>
                  <a:srgbClr val="000099"/>
                </a:solidFill>
                <a:latin typeface="DIN-Medium" pitchFamily="34" charset="0"/>
                <a:cs typeface="Lucida Sans Unicode" pitchFamily="34" charset="0"/>
              </a:defRPr>
            </a:lvl6pPr>
            <a:lvl7pPr marL="2971800" indent="-228600" algn="l" defTabSz="449263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2000">
                <a:solidFill>
                  <a:srgbClr val="000099"/>
                </a:solidFill>
                <a:latin typeface="DIN-Medium" pitchFamily="34" charset="0"/>
                <a:cs typeface="Lucida Sans Unicode" pitchFamily="34" charset="0"/>
              </a:defRPr>
            </a:lvl7pPr>
            <a:lvl8pPr marL="3429000" indent="-228600" algn="l" defTabSz="449263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2000">
                <a:solidFill>
                  <a:srgbClr val="000099"/>
                </a:solidFill>
                <a:latin typeface="DIN-Medium" pitchFamily="34" charset="0"/>
                <a:cs typeface="Lucida Sans Unicode" pitchFamily="34" charset="0"/>
              </a:defRPr>
            </a:lvl8pPr>
            <a:lvl9pPr marL="3886200" indent="-228600" algn="l" defTabSz="449263" rtl="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 sz="2000">
                <a:solidFill>
                  <a:srgbClr val="000099"/>
                </a:solidFill>
                <a:latin typeface="DIN-Medium" pitchFamily="34" charset="0"/>
                <a:cs typeface="Lucida Sans Unicode" pitchFamily="34" charset="0"/>
              </a:defRPr>
            </a:lvl9pPr>
          </a:lstStyle>
          <a:p>
            <a:pPr>
              <a:defRPr/>
            </a:pPr>
            <a:r>
              <a:rPr lang="hu-HU" sz="2400" dirty="0"/>
              <a:t>A Bruchsal-i g</a:t>
            </a:r>
            <a:r>
              <a:rPr lang="hu-HU" sz="2400" dirty="0" smtClean="0"/>
              <a:t>eotermikus </a:t>
            </a:r>
            <a:r>
              <a:rPr lang="hu-HU" sz="2400" dirty="0"/>
              <a:t>erőmű története</a:t>
            </a:r>
            <a:r>
              <a:rPr lang="de-DE" sz="2400" dirty="0"/>
              <a:t/>
            </a:r>
            <a:br>
              <a:rPr lang="de-DE" sz="2400" dirty="0"/>
            </a:br>
            <a:r>
              <a:rPr lang="hu-HU" sz="1600" i="1" dirty="0"/>
              <a:t> Hőből áram</a:t>
            </a:r>
            <a:r>
              <a:rPr lang="de-DE" dirty="0" smtClean="0"/>
              <a:t> </a:t>
            </a:r>
            <a:r>
              <a:rPr lang="de-DE" dirty="0" smtClean="0">
                <a:ea typeface="+mj-ea"/>
              </a:rPr>
              <a:t/>
            </a:r>
            <a:br>
              <a:rPr lang="de-DE" dirty="0" smtClean="0">
                <a:ea typeface="+mj-ea"/>
              </a:rPr>
            </a:br>
            <a:endParaRPr lang="de-DE" dirty="0" smtClean="0">
              <a:ea typeface="+mj-ea"/>
            </a:endParaRPr>
          </a:p>
        </p:txBody>
      </p:sp>
      <p:sp>
        <p:nvSpPr>
          <p:cNvPr id="19" name="Rectangle 8"/>
          <p:cNvSpPr>
            <a:spLocks noChangeAspect="1" noChangeArrowheads="1"/>
          </p:cNvSpPr>
          <p:nvPr/>
        </p:nvSpPr>
        <p:spPr bwMode="auto">
          <a:xfrm>
            <a:off x="528638" y="4005064"/>
            <a:ext cx="8292298" cy="4154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/>
          <a:p>
            <a:pPr marL="180975" lvl="1" indent="-180975" eaLnBrk="1" hangingPunct="1">
              <a:lnSpc>
                <a:spcPct val="150000"/>
              </a:lnSpc>
              <a:buClr>
                <a:srgbClr val="F1A500"/>
              </a:buClr>
              <a:buSzPct val="135000"/>
              <a:buFont typeface="DIN-Regular" pitchFamily="34" charset="0"/>
              <a:buChar char="›"/>
              <a:tabLst>
                <a:tab pos="266700" algn="l"/>
              </a:tabLst>
            </a:pPr>
            <a:r>
              <a:rPr lang="de-DE" sz="1800" dirty="0" smtClean="0">
                <a:solidFill>
                  <a:srgbClr val="4D4D4D"/>
                </a:solidFill>
              </a:rPr>
              <a:t>2013</a:t>
            </a:r>
            <a:r>
              <a:rPr lang="hu-HU" sz="1800" dirty="0" smtClean="0">
                <a:solidFill>
                  <a:srgbClr val="4D4D4D"/>
                </a:solidFill>
              </a:rPr>
              <a:t> óta</a:t>
            </a:r>
            <a:r>
              <a:rPr lang="de-DE" sz="1800" dirty="0" smtClean="0">
                <a:solidFill>
                  <a:srgbClr val="4D4D4D"/>
                </a:solidFill>
              </a:rPr>
              <a:t> </a:t>
            </a:r>
            <a:r>
              <a:rPr lang="hu-HU" sz="1800" dirty="0" smtClean="0">
                <a:solidFill>
                  <a:srgbClr val="4D4D4D"/>
                </a:solidFill>
              </a:rPr>
              <a:t>közös</a:t>
            </a:r>
            <a:r>
              <a:rPr lang="de-DE" sz="1800" dirty="0" smtClean="0">
                <a:solidFill>
                  <a:srgbClr val="4D4D4D"/>
                </a:solidFill>
              </a:rPr>
              <a:t> </a:t>
            </a:r>
            <a:r>
              <a:rPr lang="hu-HU" sz="1800" dirty="0" smtClean="0">
                <a:solidFill>
                  <a:srgbClr val="4D4D4D"/>
                </a:solidFill>
              </a:rPr>
              <a:t>üzemeltető cég</a:t>
            </a:r>
            <a:r>
              <a:rPr lang="de-DE" sz="1800" dirty="0" smtClean="0">
                <a:solidFill>
                  <a:srgbClr val="4D4D4D"/>
                </a:solidFill>
              </a:rPr>
              <a:t> </a:t>
            </a:r>
            <a:r>
              <a:rPr lang="hu-HU" dirty="0" smtClean="0">
                <a:solidFill>
                  <a:srgbClr val="4D4D4D"/>
                </a:solidFill>
              </a:rPr>
              <a:t>az</a:t>
            </a:r>
            <a:r>
              <a:rPr lang="de-DE" sz="1800" dirty="0" smtClean="0">
                <a:solidFill>
                  <a:srgbClr val="4D4D4D"/>
                </a:solidFill>
              </a:rPr>
              <a:t> ewb Bruchsal </a:t>
            </a:r>
            <a:r>
              <a:rPr lang="hu-HU" dirty="0" smtClean="0">
                <a:solidFill>
                  <a:srgbClr val="4D4D4D"/>
                </a:solidFill>
              </a:rPr>
              <a:t>és az</a:t>
            </a:r>
            <a:r>
              <a:rPr lang="de-DE" sz="1800" dirty="0" smtClean="0">
                <a:solidFill>
                  <a:srgbClr val="4D4D4D"/>
                </a:solidFill>
              </a:rPr>
              <a:t> EnBW </a:t>
            </a:r>
            <a:r>
              <a:rPr lang="hu-HU" dirty="0" smtClean="0">
                <a:solidFill>
                  <a:srgbClr val="4D4D4D"/>
                </a:solidFill>
              </a:rPr>
              <a:t>között</a:t>
            </a:r>
            <a:endParaRPr lang="de-DE" sz="1800" dirty="0">
              <a:solidFill>
                <a:srgbClr val="4D4D4D"/>
              </a:solidFill>
            </a:endParaRPr>
          </a:p>
        </p:txBody>
      </p:sp>
      <p:pic>
        <p:nvPicPr>
          <p:cNvPr id="58370" name="Picture 2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620838" y="2209800"/>
            <a:ext cx="5900737" cy="817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xmlns="" val="345563734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rix31RnE.LmaY6lHLqB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rix31RnE.LmaY6lHLqBw"/>
</p:tagLst>
</file>

<file path=ppt/theme/theme1.xml><?xml version="1.0" encoding="utf-8"?>
<a:theme xmlns:a="http://schemas.openxmlformats.org/drawingml/2006/main" name="Standarddesign">
  <a:themeElements>
    <a:clrScheme name="Standard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Standarddesign">
      <a:majorFont>
        <a:latin typeface="DIN-Medium"/>
        <a:ea typeface=""/>
        <a:cs typeface="Lucida Sans Unicode"/>
      </a:majorFont>
      <a:minorFont>
        <a:latin typeface="DIN-Medium"/>
        <a:ea typeface=""/>
        <a:cs typeface="Lucida Sans Unicode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B8FF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449263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>
            <a:srgbClr val="000000"/>
          </a:buClr>
          <a:buSzPct val="100000"/>
          <a:buFont typeface="Times New Roman" pitchFamily="18" charset="0"/>
          <a:buNone/>
          <a:tabLst/>
          <a:defRPr kumimoji="0" lang="en-GB" sz="1800" b="0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Arial" charset="0"/>
            <a:cs typeface="Lucida Sans Unicode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B8FF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449263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>
            <a:srgbClr val="000000"/>
          </a:buClr>
          <a:buSzPct val="100000"/>
          <a:buFont typeface="Times New Roman" pitchFamily="18" charset="0"/>
          <a:buNone/>
          <a:tabLst/>
          <a:defRPr kumimoji="0" lang="en-GB" sz="1800" b="0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Arial" charset="0"/>
            <a:cs typeface="Lucida Sans Unicode" pitchFamily="34" charset="0"/>
          </a:defRPr>
        </a:defPPr>
      </a:lstStyle>
    </a:lnDef>
  </a:objectDefaults>
  <a:extraClrSchemeLst>
    <a:extraClrScheme>
      <a:clrScheme name="Standard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1_Standarddesign">
  <a:themeElements>
    <a:clrScheme name="Standard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Standarddesign">
      <a:majorFont>
        <a:latin typeface="DIN-Medium"/>
        <a:ea typeface=""/>
        <a:cs typeface="Lucida Sans Unicode"/>
      </a:majorFont>
      <a:minorFont>
        <a:latin typeface="DIN-Medium"/>
        <a:ea typeface=""/>
        <a:cs typeface="Lucida Sans Unicode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B8FF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449263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>
            <a:srgbClr val="000000"/>
          </a:buClr>
          <a:buSzPct val="100000"/>
          <a:buFont typeface="Times New Roman" pitchFamily="18" charset="0"/>
          <a:buNone/>
          <a:tabLst/>
          <a:defRPr kumimoji="0" lang="en-GB" sz="1800" b="0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Arial" charset="0"/>
            <a:cs typeface="Lucida Sans Unicode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B8FF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449263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>
            <a:srgbClr val="000000"/>
          </a:buClr>
          <a:buSzPct val="100000"/>
          <a:buFont typeface="Times New Roman" pitchFamily="18" charset="0"/>
          <a:buNone/>
          <a:tabLst/>
          <a:defRPr kumimoji="0" lang="en-GB" sz="1800" b="0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Arial" charset="0"/>
            <a:cs typeface="Lucida Sans Unicode" pitchFamily="34" charset="0"/>
          </a:defRPr>
        </a:defPPr>
      </a:lstStyle>
    </a:lnDef>
  </a:objectDefaults>
  <a:extraClrSchemeLst>
    <a:extraClrScheme>
      <a:clrScheme name="Standard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351</Words>
  <Application>Microsoft Office PowerPoint</Application>
  <PresentationFormat>Diavetítés a képernyőre (4:3 oldalarány)</PresentationFormat>
  <Paragraphs>141</Paragraphs>
  <Slides>14</Slides>
  <Notes>9</Notes>
  <HiddenSlides>0</HiddenSlides>
  <MMClips>0</MMClips>
  <ScaleCrop>false</ScaleCrop>
  <HeadingPairs>
    <vt:vector size="6" baseType="variant">
      <vt:variant>
        <vt:lpstr>Téma</vt:lpstr>
      </vt:variant>
      <vt:variant>
        <vt:i4>2</vt:i4>
      </vt:variant>
      <vt:variant>
        <vt:lpstr>Beágyazott OLE kiszolgálók</vt:lpstr>
      </vt:variant>
      <vt:variant>
        <vt:i4>1</vt:i4>
      </vt:variant>
      <vt:variant>
        <vt:lpstr>Diacímek</vt:lpstr>
      </vt:variant>
      <vt:variant>
        <vt:i4>14</vt:i4>
      </vt:variant>
    </vt:vector>
  </HeadingPairs>
  <TitlesOfParts>
    <vt:vector size="17" baseType="lpstr">
      <vt:lpstr>Standarddesign</vt:lpstr>
      <vt:lpstr>1_Standarddesign</vt:lpstr>
      <vt:lpstr>Photo Editor Photo</vt:lpstr>
      <vt:lpstr>Geotermikus erőmű Bruchsal: Geológia és erőmű   </vt:lpstr>
      <vt:lpstr>2. dia</vt:lpstr>
      <vt:lpstr>3. dia</vt:lpstr>
      <vt:lpstr>4. dia</vt:lpstr>
      <vt:lpstr>A geotermia jövőbeli szerepe  Szükségünk van a geotermiára?</vt:lpstr>
      <vt:lpstr>6. dia</vt:lpstr>
      <vt:lpstr>7. dia</vt:lpstr>
      <vt:lpstr>8. dia</vt:lpstr>
      <vt:lpstr>9. dia</vt:lpstr>
      <vt:lpstr>10. dia</vt:lpstr>
      <vt:lpstr>11. dia</vt:lpstr>
      <vt:lpstr>12. dia</vt:lpstr>
      <vt:lpstr>13. dia</vt:lpstr>
      <vt:lpstr>14. dia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-Status</dc:title>
  <dc:creator>Lars Walch</dc:creator>
  <cp:lastModifiedBy>Terbe Zoltán</cp:lastModifiedBy>
  <cp:revision>1555</cp:revision>
  <cp:lastPrinted>2011-01-31T09:31:35Z</cp:lastPrinted>
  <dcterms:created xsi:type="dcterms:W3CDTF">2005-03-18T13:19:07Z</dcterms:created>
  <dcterms:modified xsi:type="dcterms:W3CDTF">2013-10-07T13:07:4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Kommentar">
    <vt:lpwstr>Standard-Vorlage für Vorstandsvorlagen, Statusberichte, LA-Präsentationen (in Absprache mit HM 070822). _x000d_
Nach der Vorlage anpassen: _x000d_
- Master! _x000d_
- Führungslinien!</vt:lpwstr>
  </property>
</Properties>
</file>